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54" r:id="rId3"/>
    <p:sldMasterId id="2147483900" r:id="rId4"/>
    <p:sldMasterId id="2147483946" r:id="rId5"/>
    <p:sldMasterId id="2147483992" r:id="rId6"/>
    <p:sldMasterId id="2147484038" r:id="rId7"/>
    <p:sldMasterId id="2147484084" r:id="rId8"/>
    <p:sldMasterId id="2147484130" r:id="rId9"/>
    <p:sldMasterId id="2147484180" r:id="rId10"/>
  </p:sldMasterIdLst>
  <p:notesMasterIdLst>
    <p:notesMasterId r:id="rId23"/>
  </p:notesMasterIdLst>
  <p:handoutMasterIdLst>
    <p:handoutMasterId r:id="rId24"/>
  </p:handoutMasterIdLst>
  <p:sldIdLst>
    <p:sldId id="1190" r:id="rId11"/>
    <p:sldId id="415" r:id="rId12"/>
    <p:sldId id="1191" r:id="rId13"/>
    <p:sldId id="1193" r:id="rId14"/>
    <p:sldId id="1194" r:id="rId15"/>
    <p:sldId id="1195" r:id="rId16"/>
    <p:sldId id="1196" r:id="rId17"/>
    <p:sldId id="1198" r:id="rId18"/>
    <p:sldId id="1197" r:id="rId19"/>
    <p:sldId id="1199" r:id="rId20"/>
    <p:sldId id="263" r:id="rId21"/>
    <p:sldId id="1200" r:id="rId22"/>
  </p:sldIdLst>
  <p:sldSz cx="9144000" cy="6858000" type="screen4x3"/>
  <p:notesSz cx="7099300" cy="10234613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" id="{91771564-87A6-4341-B3DE-0353419D3AC3}">
          <p14:sldIdLst>
            <p14:sldId id="1190"/>
            <p14:sldId id="415"/>
            <p14:sldId id="1191"/>
            <p14:sldId id="1193"/>
            <p14:sldId id="1194"/>
            <p14:sldId id="1195"/>
            <p14:sldId id="1196"/>
            <p14:sldId id="1198"/>
            <p14:sldId id="1197"/>
            <p14:sldId id="1199"/>
            <p14:sldId id="263"/>
            <p14:sldId id="1200"/>
          </p14:sldIdLst>
        </p14:section>
        <p14:section name="B" id="{02737D16-1505-4BB0-81E6-49CE9AC05E06}">
          <p14:sldIdLst/>
        </p14:section>
        <p14:section name="D" id="{09FE4AC8-41A3-4F6F-A9EC-A6A8E3DC674D}">
          <p14:sldIdLst/>
        </p14:section>
        <p14:section name="E" id="{DE07A52E-8196-450D-9A1E-C7C8AAAEF983}">
          <p14:sldIdLst/>
        </p14:section>
        <p14:section name="F" id="{53AEBAB4-0138-44F6-A160-D40D55267E99}">
          <p14:sldIdLst/>
        </p14:section>
      </p14:sectionLst>
    </p:ext>
    <p:ext uri="{EFAFB233-063F-42B5-8137-9DF3F51BA10A}">
      <p15:sldGuideLst xmlns:p15="http://schemas.microsoft.com/office/powerpoint/2012/main">
        <p15:guide id="9" pos="2880">
          <p15:clr>
            <a:srgbClr val="A4A3A4"/>
          </p15:clr>
        </p15:guide>
        <p15:guide id="10" orient="horz" pos="2160">
          <p15:clr>
            <a:srgbClr val="A4A3A4"/>
          </p15:clr>
        </p15:guide>
        <p15:guide id="13" orient="horz" pos="1933" userDrawn="1">
          <p15:clr>
            <a:srgbClr val="A4A3A4"/>
          </p15:clr>
        </p15:guide>
        <p15:guide id="14" orient="horz" pos="1989" userDrawn="1">
          <p15:clr>
            <a:srgbClr val="A4A3A4"/>
          </p15:clr>
        </p15:guide>
        <p15:guide id="16" orient="horz" pos="2956" userDrawn="1">
          <p15:clr>
            <a:srgbClr val="A4A3A4"/>
          </p15:clr>
        </p15:guide>
        <p15:guide id="22" orient="horz" pos="212" userDrawn="1">
          <p15:clr>
            <a:srgbClr val="A4A3A4"/>
          </p15:clr>
        </p15:guide>
        <p15:guide id="23" orient="horz" pos="651" userDrawn="1">
          <p15:clr>
            <a:srgbClr val="A4A3A4"/>
          </p15:clr>
        </p15:guide>
        <p15:guide id="30" pos="2936">
          <p15:clr>
            <a:srgbClr val="A4A3A4"/>
          </p15:clr>
        </p15:guide>
        <p15:guide id="32" pos="3741" userDrawn="1">
          <p15:clr>
            <a:srgbClr val="A4A3A4"/>
          </p15:clr>
        </p15:guide>
        <p15:guide id="33" pos="3855" userDrawn="1">
          <p15:clr>
            <a:srgbClr val="A4A3A4"/>
          </p15:clr>
        </p15:guide>
        <p15:guide id="37" pos="5580" userDrawn="1">
          <p15:clr>
            <a:srgbClr val="A4A3A4"/>
          </p15:clr>
        </p15:guide>
        <p15:guide id="38" pos="182" userDrawn="1">
          <p15:clr>
            <a:srgbClr val="A4A3A4"/>
          </p15:clr>
        </p15:guide>
        <p15:guide id="39" pos="986" userDrawn="1">
          <p15:clr>
            <a:srgbClr val="A4A3A4"/>
          </p15:clr>
        </p15:guide>
        <p15:guide id="40" pos="249" userDrawn="1">
          <p15:clr>
            <a:srgbClr val="A4A3A4"/>
          </p15:clr>
        </p15:guide>
        <p15:guide id="41" pos="5517" userDrawn="1">
          <p15:clr>
            <a:srgbClr val="A4A3A4"/>
          </p15:clr>
        </p15:guide>
        <p15:guide id="42" pos="4773" userDrawn="1">
          <p15:clr>
            <a:srgbClr val="A4A3A4"/>
          </p15:clr>
        </p15:guide>
        <p15:guide id="48" pos="2823" userDrawn="1">
          <p15:clr>
            <a:srgbClr val="A4A3A4"/>
          </p15:clr>
        </p15:guide>
        <p15:guide id="49" pos="1904" userDrawn="1">
          <p15:clr>
            <a:srgbClr val="A4A3A4"/>
          </p15:clr>
        </p15:guide>
        <p15:guide id="51" pos="2019" userDrawn="1">
          <p15:clr>
            <a:srgbClr val="A4A3A4"/>
          </p15:clr>
        </p15:guide>
        <p15:guide id="52" pos="1100" userDrawn="1">
          <p15:clr>
            <a:srgbClr val="A4A3A4"/>
          </p15:clr>
        </p15:guide>
        <p15:guide id="53" pos="4661" userDrawn="1">
          <p15:clr>
            <a:srgbClr val="A4A3A4"/>
          </p15:clr>
        </p15:guide>
        <p15:guide id="54" orient="horz" pos="2899" userDrawn="1">
          <p15:clr>
            <a:srgbClr val="A4A3A4"/>
          </p15:clr>
        </p15:guide>
        <p15:guide id="56" orient="horz" pos="3864">
          <p15:clr>
            <a:srgbClr val="A4A3A4"/>
          </p15:clr>
        </p15:guide>
        <p15:guide id="57" orient="horz" pos="1503" userDrawn="1">
          <p15:clr>
            <a:srgbClr val="A4A3A4"/>
          </p15:clr>
        </p15:guide>
        <p15:guide id="58" orient="horz" pos="1448">
          <p15:clr>
            <a:srgbClr val="A4A3A4"/>
          </p15:clr>
        </p15:guide>
        <p15:guide id="59" orient="horz" pos="1022">
          <p15:clr>
            <a:srgbClr val="A4A3A4"/>
          </p15:clr>
        </p15:guide>
        <p15:guide id="60" orient="horz" pos="1932">
          <p15:clr>
            <a:srgbClr val="A4A3A4"/>
          </p15:clr>
        </p15:guide>
        <p15:guide id="61" orient="horz" pos="2472" userDrawn="1">
          <p15:clr>
            <a:srgbClr val="A4A3A4"/>
          </p15:clr>
        </p15:guide>
        <p15:guide id="63" orient="horz" pos="2414" userDrawn="1">
          <p15:clr>
            <a:srgbClr val="A4A3A4"/>
          </p15:clr>
        </p15:guide>
        <p15:guide id="64" orient="horz" pos="3436" userDrawn="1">
          <p15:clr>
            <a:srgbClr val="A4A3A4"/>
          </p15:clr>
        </p15:guide>
        <p15:guide id="66" orient="horz" pos="3381">
          <p15:clr>
            <a:srgbClr val="A4A3A4"/>
          </p15:clr>
        </p15:guide>
        <p15:guide id="67" orient="horz" pos="4189" userDrawn="1">
          <p15:clr>
            <a:srgbClr val="A4A3A4"/>
          </p15:clr>
        </p15:guide>
        <p15:guide id="68" orient="horz" pos="1979">
          <p15:clr>
            <a:srgbClr val="A4A3A4"/>
          </p15:clr>
        </p15:guide>
        <p15:guide id="69" orient="horz" pos="15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456" clrIdx="1"/>
  <p:cmAuthor id="3" name="Christina Drimmel" initials="CD" lastIdx="9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14A"/>
    <a:srgbClr val="7F7F7F"/>
    <a:srgbClr val="9AA8A1"/>
    <a:srgbClr val="707172"/>
    <a:srgbClr val="83B375"/>
    <a:srgbClr val="FFC800"/>
    <a:srgbClr val="FFFFFF"/>
    <a:srgbClr val="BB575A"/>
    <a:srgbClr val="ECEDED"/>
    <a:srgbClr val="8787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C89EF96-8CEA-46FF-86C4-4CE0E760980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39" autoAdjust="0"/>
    <p:restoredTop sz="88104" autoAdjust="0"/>
  </p:normalViewPr>
  <p:slideViewPr>
    <p:cSldViewPr showGuides="1">
      <p:cViewPr varScale="1">
        <p:scale>
          <a:sx n="111" d="100"/>
          <a:sy n="111" d="100"/>
        </p:scale>
        <p:origin x="594" y="150"/>
      </p:cViewPr>
      <p:guideLst>
        <p:guide pos="2880"/>
        <p:guide orient="horz" pos="2160"/>
        <p:guide orient="horz" pos="1933"/>
        <p:guide orient="horz" pos="1989"/>
        <p:guide orient="horz" pos="2956"/>
        <p:guide orient="horz" pos="212"/>
        <p:guide orient="horz" pos="651"/>
        <p:guide pos="2936"/>
        <p:guide pos="3741"/>
        <p:guide pos="3855"/>
        <p:guide pos="5580"/>
        <p:guide pos="182"/>
        <p:guide pos="986"/>
        <p:guide pos="249"/>
        <p:guide pos="5517"/>
        <p:guide pos="4773"/>
        <p:guide pos="2823"/>
        <p:guide pos="1904"/>
        <p:guide pos="2019"/>
        <p:guide pos="1100"/>
        <p:guide pos="4661"/>
        <p:guide orient="horz" pos="2899"/>
        <p:guide orient="horz" pos="3864"/>
        <p:guide orient="horz" pos="1503"/>
        <p:guide orient="horz" pos="1448"/>
        <p:guide orient="horz" pos="1022"/>
        <p:guide orient="horz" pos="1932"/>
        <p:guide orient="horz" pos="2472"/>
        <p:guide orient="horz" pos="2414"/>
        <p:guide orient="horz" pos="3436"/>
        <p:guide orient="horz" pos="3381"/>
        <p:guide orient="horz" pos="4189"/>
        <p:guide orient="horz" pos="1979"/>
        <p:guide orient="horz" pos="152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0266"/>
    </p:cViewPr>
  </p:sorterViewPr>
  <p:notesViewPr>
    <p:cSldViewPr showGuides="1">
      <p:cViewPr varScale="1">
        <p:scale>
          <a:sx n="107" d="100"/>
          <a:sy n="107" d="100"/>
        </p:scale>
        <p:origin x="4398" y="-336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6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5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" Target="slides/slide1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5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8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EB8893-EA93-46B5-975D-287F3F18BF94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82E16B82-59AE-4C05-ADB5-6C19A53EE743}">
      <dgm:prSet phldrT="[Text]" custT="1"/>
      <dgm:spPr/>
      <dgm:t>
        <a:bodyPr/>
        <a:lstStyle/>
        <a:p>
          <a:endParaRPr lang="en-GB" sz="2000" b="1" dirty="0">
            <a:solidFill>
              <a:schemeClr val="tx1"/>
            </a:solidFill>
          </a:endParaRPr>
        </a:p>
        <a:p>
          <a:endParaRPr lang="en-GB" sz="2000" b="1" dirty="0">
            <a:solidFill>
              <a:schemeClr val="tx1"/>
            </a:solidFill>
          </a:endParaRPr>
        </a:p>
        <a:p>
          <a:endParaRPr lang="en-GB" sz="2000" b="1" dirty="0">
            <a:solidFill>
              <a:schemeClr val="tx1"/>
            </a:solidFill>
          </a:endParaRPr>
        </a:p>
        <a:p>
          <a:r>
            <a:rPr lang="en-GB" sz="2000" b="1" dirty="0">
              <a:solidFill>
                <a:schemeClr val="tx1"/>
              </a:solidFill>
            </a:rPr>
            <a:t>SEKTOR ZA TEMELJENJE</a:t>
          </a:r>
        </a:p>
        <a:p>
          <a:r>
            <a:rPr lang="en-GB" sz="2000" b="1" dirty="0">
              <a:solidFill>
                <a:schemeClr val="tx1"/>
              </a:solidFill>
            </a:rPr>
            <a:t>VODITELJ: </a:t>
          </a:r>
          <a:r>
            <a:rPr lang="en-GB" sz="2000" b="1" dirty="0" err="1">
              <a:solidFill>
                <a:schemeClr val="tx1"/>
              </a:solidFill>
            </a:rPr>
            <a:t>mr</a:t>
          </a:r>
          <a:r>
            <a:rPr lang="en-GB" sz="2000" b="1" dirty="0">
              <a:solidFill>
                <a:schemeClr val="tx1"/>
              </a:solidFill>
            </a:rPr>
            <a:t>. KREŠIMIR HORVAT, </a:t>
          </a:r>
          <a:r>
            <a:rPr lang="en-GB" sz="2000" b="1" dirty="0" err="1">
              <a:solidFill>
                <a:schemeClr val="tx1"/>
              </a:solidFill>
            </a:rPr>
            <a:t>dil.ing.građ</a:t>
          </a:r>
          <a:r>
            <a:rPr lang="en-GB" sz="2000" b="1" dirty="0">
              <a:solidFill>
                <a:schemeClr val="tx1"/>
              </a:solidFill>
            </a:rPr>
            <a:t>.</a:t>
          </a:r>
        </a:p>
        <a:p>
          <a:r>
            <a:rPr lang="en-GB" sz="2000" dirty="0">
              <a:solidFill>
                <a:schemeClr val="tx1"/>
              </a:solidFill>
            </a:rPr>
            <a:t>.</a:t>
          </a:r>
        </a:p>
        <a:p>
          <a:endParaRPr lang="en-GB" sz="2000" dirty="0">
            <a:solidFill>
              <a:schemeClr val="tx1"/>
            </a:solidFill>
          </a:endParaRPr>
        </a:p>
        <a:p>
          <a:endParaRPr lang="en-GB" sz="2000" dirty="0">
            <a:solidFill>
              <a:schemeClr val="tx1"/>
            </a:solidFill>
          </a:endParaRPr>
        </a:p>
      </dgm:t>
    </dgm:pt>
    <dgm:pt modelId="{389D8201-76C5-406D-84CF-21892070F010}" type="parTrans" cxnId="{F44A2351-6EBE-4668-85C2-8CC6CAD195AB}">
      <dgm:prSet/>
      <dgm:spPr/>
      <dgm:t>
        <a:bodyPr/>
        <a:lstStyle/>
        <a:p>
          <a:endParaRPr lang="en-GB" sz="2000"/>
        </a:p>
      </dgm:t>
    </dgm:pt>
    <dgm:pt modelId="{80AD3ED4-A5C2-48E1-A0CC-86D2FF5CF1D7}" type="sibTrans" cxnId="{F44A2351-6EBE-4668-85C2-8CC6CAD195AB}">
      <dgm:prSet/>
      <dgm:spPr/>
      <dgm:t>
        <a:bodyPr/>
        <a:lstStyle/>
        <a:p>
          <a:endParaRPr lang="en-GB" sz="2000"/>
        </a:p>
      </dgm:t>
    </dgm:pt>
    <dgm:pt modelId="{FC631B22-B72F-42CF-85AD-F9DC385CCF67}" type="asst">
      <dgm:prSet phldrT="[Text]" custT="1"/>
      <dgm:spPr/>
      <dgm:t>
        <a:bodyPr/>
        <a:lstStyle/>
        <a:p>
          <a:r>
            <a:rPr lang="en-GB" sz="1400" dirty="0"/>
            <a:t>1. </a:t>
          </a:r>
          <a:r>
            <a:rPr lang="en-GB" sz="1400" dirty="0" err="1"/>
            <a:t>Odjel</a:t>
          </a:r>
          <a:endParaRPr lang="en-GB" sz="1400" dirty="0"/>
        </a:p>
        <a:p>
          <a:r>
            <a:rPr lang="en-GB" sz="1400" dirty="0" err="1"/>
            <a:t>mr</a:t>
          </a:r>
          <a:r>
            <a:rPr lang="en-GB" sz="1400" dirty="0"/>
            <a:t>. Ivan </a:t>
          </a:r>
          <a:r>
            <a:rPr lang="en-GB" sz="1400" dirty="0" err="1"/>
            <a:t>Muhovec</a:t>
          </a:r>
          <a:r>
            <a:rPr lang="en-GB" sz="1400" dirty="0"/>
            <a:t>, </a:t>
          </a:r>
          <a:r>
            <a:rPr lang="en-GB" sz="1400" dirty="0" err="1"/>
            <a:t>dipl.ing.građ</a:t>
          </a:r>
          <a:r>
            <a:rPr lang="en-GB" sz="1400" dirty="0"/>
            <a:t>.</a:t>
          </a:r>
        </a:p>
      </dgm:t>
    </dgm:pt>
    <dgm:pt modelId="{0493AB52-932F-4DB2-BA23-F6B17944876E}" type="parTrans" cxnId="{D2876DB3-537D-4296-88C1-465F43AF6463}">
      <dgm:prSet/>
      <dgm:spPr/>
      <dgm:t>
        <a:bodyPr/>
        <a:lstStyle/>
        <a:p>
          <a:endParaRPr lang="en-GB" sz="2000"/>
        </a:p>
      </dgm:t>
    </dgm:pt>
    <dgm:pt modelId="{40BFFB01-BC3C-4958-A129-119B43ECBF2C}" type="sibTrans" cxnId="{D2876DB3-537D-4296-88C1-465F43AF6463}">
      <dgm:prSet/>
      <dgm:spPr/>
      <dgm:t>
        <a:bodyPr/>
        <a:lstStyle/>
        <a:p>
          <a:endParaRPr lang="en-GB" sz="2000"/>
        </a:p>
      </dgm:t>
    </dgm:pt>
    <dgm:pt modelId="{338B09E0-7073-44E4-9151-2A1193CAAF79}" type="asst">
      <dgm:prSet custT="1"/>
      <dgm:spPr/>
      <dgm:t>
        <a:bodyPr/>
        <a:lstStyle/>
        <a:p>
          <a:r>
            <a:rPr lang="en-GB" sz="1400" dirty="0"/>
            <a:t>2. </a:t>
          </a:r>
          <a:r>
            <a:rPr lang="en-GB" sz="1400" dirty="0" err="1"/>
            <a:t>Odjel</a:t>
          </a:r>
          <a:endParaRPr lang="en-GB" sz="1400" dirty="0"/>
        </a:p>
        <a:p>
          <a:r>
            <a:rPr lang="en-GB" sz="1400" dirty="0" err="1"/>
            <a:t>Dr.</a:t>
          </a:r>
          <a:r>
            <a:rPr lang="en-GB" sz="1400" dirty="0"/>
            <a:t> </a:t>
          </a:r>
          <a:r>
            <a:rPr lang="en-GB" sz="1400" dirty="0" err="1"/>
            <a:t>Nenad</a:t>
          </a:r>
          <a:r>
            <a:rPr lang="en-GB" sz="1400" dirty="0"/>
            <a:t> </a:t>
          </a:r>
          <a:r>
            <a:rPr lang="en-GB" sz="1400" dirty="0" err="1"/>
            <a:t>Grubić</a:t>
          </a:r>
          <a:r>
            <a:rPr lang="en-GB" sz="1400" dirty="0"/>
            <a:t>, </a:t>
          </a:r>
          <a:r>
            <a:rPr lang="en-GB" sz="1400" dirty="0" err="1"/>
            <a:t>dipl.ing.građ</a:t>
          </a:r>
          <a:r>
            <a:rPr lang="en-GB" sz="1400" dirty="0"/>
            <a:t>.</a:t>
          </a:r>
        </a:p>
      </dgm:t>
    </dgm:pt>
    <dgm:pt modelId="{E0F4823C-F2F0-4646-B485-3CF4BE94948A}" type="parTrans" cxnId="{F86DE9E8-BA85-4BE6-9C98-AAE828783556}">
      <dgm:prSet/>
      <dgm:spPr/>
      <dgm:t>
        <a:bodyPr/>
        <a:lstStyle/>
        <a:p>
          <a:endParaRPr lang="en-GB" sz="2000"/>
        </a:p>
      </dgm:t>
    </dgm:pt>
    <dgm:pt modelId="{29E5BF3C-EFBC-4808-82A1-1F875A48F930}" type="sibTrans" cxnId="{F86DE9E8-BA85-4BE6-9C98-AAE828783556}">
      <dgm:prSet/>
      <dgm:spPr/>
      <dgm:t>
        <a:bodyPr/>
        <a:lstStyle/>
        <a:p>
          <a:endParaRPr lang="en-GB" sz="2000"/>
        </a:p>
      </dgm:t>
    </dgm:pt>
    <dgm:pt modelId="{EF9763B7-33C7-4758-83CF-6ECC975684E6}">
      <dgm:prSet custT="1"/>
      <dgm:spPr/>
      <dgm:t>
        <a:bodyPr/>
        <a:lstStyle/>
        <a:p>
          <a:r>
            <a:rPr lang="en-GB" sz="1400" dirty="0" err="1"/>
            <a:t>Grupa</a:t>
          </a:r>
          <a:r>
            <a:rPr lang="en-GB" sz="1400" dirty="0"/>
            <a:t> 2</a:t>
          </a:r>
        </a:p>
        <a:p>
          <a:r>
            <a:rPr lang="en-GB" sz="1400" dirty="0"/>
            <a:t>Milan </a:t>
          </a:r>
          <a:r>
            <a:rPr lang="en-GB" sz="1400" dirty="0" err="1"/>
            <a:t>Štajduhar</a:t>
          </a:r>
          <a:endParaRPr lang="en-GB" sz="1400" dirty="0"/>
        </a:p>
      </dgm:t>
    </dgm:pt>
    <dgm:pt modelId="{7A86190C-4E88-4807-93B7-DBE28C19E846}" type="parTrans" cxnId="{F779E10C-A328-477A-A5F9-C34859AF67AE}">
      <dgm:prSet/>
      <dgm:spPr/>
      <dgm:t>
        <a:bodyPr/>
        <a:lstStyle/>
        <a:p>
          <a:endParaRPr lang="en-GB" sz="2000"/>
        </a:p>
      </dgm:t>
    </dgm:pt>
    <dgm:pt modelId="{7FAD5F41-4EA0-4F7B-A2EB-95B4C6CE93D9}" type="sibTrans" cxnId="{F779E10C-A328-477A-A5F9-C34859AF67AE}">
      <dgm:prSet/>
      <dgm:spPr/>
      <dgm:t>
        <a:bodyPr/>
        <a:lstStyle/>
        <a:p>
          <a:endParaRPr lang="en-GB" sz="2000"/>
        </a:p>
      </dgm:t>
    </dgm:pt>
    <dgm:pt modelId="{4E748735-A3FE-445D-88D2-29F31E4BF063}">
      <dgm:prSet custT="1"/>
      <dgm:spPr/>
      <dgm:t>
        <a:bodyPr/>
        <a:lstStyle/>
        <a:p>
          <a:r>
            <a:rPr lang="en-GB" sz="1400" dirty="0" err="1"/>
            <a:t>Grupa</a:t>
          </a:r>
          <a:r>
            <a:rPr lang="en-GB" sz="1400" dirty="0"/>
            <a:t> 1</a:t>
          </a:r>
        </a:p>
        <a:p>
          <a:r>
            <a:rPr lang="en-GB" sz="1400" dirty="0" err="1"/>
            <a:t>mr</a:t>
          </a:r>
          <a:r>
            <a:rPr lang="en-GB" sz="1400" dirty="0"/>
            <a:t>. </a:t>
          </a:r>
          <a:r>
            <a:rPr lang="en-GB" sz="1400" dirty="0" err="1"/>
            <a:t>Damir</a:t>
          </a:r>
          <a:r>
            <a:rPr lang="en-GB" sz="1400" dirty="0"/>
            <a:t> </a:t>
          </a:r>
          <a:r>
            <a:rPr lang="en-GB" sz="1400" dirty="0" err="1"/>
            <a:t>Čoriko</a:t>
          </a:r>
          <a:r>
            <a:rPr lang="en-GB" sz="1400" dirty="0"/>
            <a:t>, </a:t>
          </a:r>
          <a:r>
            <a:rPr lang="en-GB" sz="1400" dirty="0" err="1"/>
            <a:t>dipl.ing.građ</a:t>
          </a:r>
          <a:r>
            <a:rPr lang="en-GB" sz="1400" dirty="0"/>
            <a:t>.</a:t>
          </a:r>
        </a:p>
      </dgm:t>
    </dgm:pt>
    <dgm:pt modelId="{090F7BAB-81E0-4856-AE77-AC114CF8BB46}" type="parTrans" cxnId="{57874A0A-946C-4A7D-9459-A6DEC084C2FB}">
      <dgm:prSet/>
      <dgm:spPr/>
      <dgm:t>
        <a:bodyPr/>
        <a:lstStyle/>
        <a:p>
          <a:endParaRPr lang="en-GB" sz="2000"/>
        </a:p>
      </dgm:t>
    </dgm:pt>
    <dgm:pt modelId="{C14E22DF-F1E7-4A5A-B2BE-8F5C1136563A}" type="sibTrans" cxnId="{57874A0A-946C-4A7D-9459-A6DEC084C2FB}">
      <dgm:prSet/>
      <dgm:spPr/>
      <dgm:t>
        <a:bodyPr/>
        <a:lstStyle/>
        <a:p>
          <a:endParaRPr lang="en-GB" sz="2000"/>
        </a:p>
      </dgm:t>
    </dgm:pt>
    <dgm:pt modelId="{90114DFB-6A76-4CF6-97E4-CB78E2702B27}">
      <dgm:prSet custT="1"/>
      <dgm:spPr/>
      <dgm:t>
        <a:bodyPr/>
        <a:lstStyle/>
        <a:p>
          <a:r>
            <a:rPr lang="en-GB" sz="1400" dirty="0" err="1"/>
            <a:t>Grupa</a:t>
          </a:r>
          <a:r>
            <a:rPr lang="en-GB" sz="1400" dirty="0"/>
            <a:t> 2</a:t>
          </a:r>
        </a:p>
        <a:p>
          <a:r>
            <a:rPr lang="en-GB" sz="1400" dirty="0" err="1"/>
            <a:t>Mladen</a:t>
          </a:r>
          <a:r>
            <a:rPr lang="en-GB" sz="1400" dirty="0"/>
            <a:t> </a:t>
          </a:r>
          <a:r>
            <a:rPr lang="en-GB" sz="1400" dirty="0" err="1"/>
            <a:t>Bešenić</a:t>
          </a:r>
          <a:r>
            <a:rPr lang="en-GB" sz="1400" dirty="0"/>
            <a:t>, </a:t>
          </a:r>
          <a:r>
            <a:rPr lang="en-GB" sz="1400" dirty="0" err="1"/>
            <a:t>dipl.ing.građ</a:t>
          </a:r>
          <a:r>
            <a:rPr lang="en-GB" sz="1400" dirty="0"/>
            <a:t>.</a:t>
          </a:r>
        </a:p>
      </dgm:t>
    </dgm:pt>
    <dgm:pt modelId="{0EAD261F-0ED9-43B1-9393-2FF468EAC26A}" type="parTrans" cxnId="{BF424199-C4FA-422E-838F-0B9CCFC4FF59}">
      <dgm:prSet/>
      <dgm:spPr/>
      <dgm:t>
        <a:bodyPr/>
        <a:lstStyle/>
        <a:p>
          <a:endParaRPr lang="en-GB" sz="2000"/>
        </a:p>
      </dgm:t>
    </dgm:pt>
    <dgm:pt modelId="{591B99E3-DEC9-4A77-B9D8-F54AE7C00C06}" type="sibTrans" cxnId="{BF424199-C4FA-422E-838F-0B9CCFC4FF59}">
      <dgm:prSet/>
      <dgm:spPr/>
      <dgm:t>
        <a:bodyPr/>
        <a:lstStyle/>
        <a:p>
          <a:endParaRPr lang="en-GB" sz="2000"/>
        </a:p>
      </dgm:t>
    </dgm:pt>
    <dgm:pt modelId="{5FCD901D-F90F-44B3-BF54-E83DEEC7677B}">
      <dgm:prSet custT="1"/>
      <dgm:spPr/>
      <dgm:t>
        <a:bodyPr/>
        <a:lstStyle/>
        <a:p>
          <a:r>
            <a:rPr lang="en-GB" sz="1400" dirty="0" err="1"/>
            <a:t>Grupa</a:t>
          </a:r>
          <a:r>
            <a:rPr lang="en-GB" sz="1400" dirty="0"/>
            <a:t> 1</a:t>
          </a:r>
        </a:p>
        <a:p>
          <a:r>
            <a:rPr lang="en-GB" sz="1400" dirty="0"/>
            <a:t>Mr. </a:t>
          </a:r>
          <a:r>
            <a:rPr lang="en-GB" sz="1400" dirty="0" err="1"/>
            <a:t>Božica</a:t>
          </a:r>
          <a:r>
            <a:rPr lang="en-GB" sz="1400" dirty="0"/>
            <a:t> </a:t>
          </a:r>
          <a:r>
            <a:rPr lang="en-GB" sz="1400" dirty="0" err="1"/>
            <a:t>Marić</a:t>
          </a:r>
          <a:r>
            <a:rPr lang="en-GB" sz="1400" dirty="0"/>
            <a:t>, </a:t>
          </a:r>
          <a:r>
            <a:rPr lang="en-GB" sz="1400" dirty="0" err="1"/>
            <a:t>dipl.ing.građ</a:t>
          </a:r>
          <a:r>
            <a:rPr lang="en-GB" sz="1400" dirty="0"/>
            <a:t>.</a:t>
          </a:r>
        </a:p>
      </dgm:t>
    </dgm:pt>
    <dgm:pt modelId="{A56932DF-B49A-4BAF-A0B5-2302EDC66D7A}" type="parTrans" cxnId="{ACCAB702-3FB5-4D31-9FAE-1A29E0F9F4E0}">
      <dgm:prSet/>
      <dgm:spPr/>
      <dgm:t>
        <a:bodyPr/>
        <a:lstStyle/>
        <a:p>
          <a:endParaRPr lang="en-GB" sz="2000"/>
        </a:p>
      </dgm:t>
    </dgm:pt>
    <dgm:pt modelId="{EBDF8C33-7E2C-4CA6-AE4D-75BBC5FC55B0}" type="sibTrans" cxnId="{ACCAB702-3FB5-4D31-9FAE-1A29E0F9F4E0}">
      <dgm:prSet/>
      <dgm:spPr/>
      <dgm:t>
        <a:bodyPr/>
        <a:lstStyle/>
        <a:p>
          <a:endParaRPr lang="en-GB" sz="2000"/>
        </a:p>
      </dgm:t>
    </dgm:pt>
    <dgm:pt modelId="{0EF48727-0303-4068-87AA-7F2283CE5CDA}" type="pres">
      <dgm:prSet presAssocID="{ADEB8893-EA93-46B5-975D-287F3F18BF94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hr-HR"/>
        </a:p>
      </dgm:t>
    </dgm:pt>
    <dgm:pt modelId="{70421DE2-3202-4194-A6B1-4D21CD0D543B}" type="pres">
      <dgm:prSet presAssocID="{82E16B82-59AE-4C05-ADB5-6C19A53EE743}" presName="hierRoot1" presStyleCnt="0">
        <dgm:presLayoutVars>
          <dgm:hierBranch val="init"/>
        </dgm:presLayoutVars>
      </dgm:prSet>
      <dgm:spPr/>
    </dgm:pt>
    <dgm:pt modelId="{9CC787A5-8F4A-4253-9470-EA7356001D78}" type="pres">
      <dgm:prSet presAssocID="{82E16B82-59AE-4C05-ADB5-6C19A53EE743}" presName="rootComposite1" presStyleCnt="0"/>
      <dgm:spPr/>
    </dgm:pt>
    <dgm:pt modelId="{5146EC66-9508-4355-B566-0D31387A0121}" type="pres">
      <dgm:prSet presAssocID="{82E16B82-59AE-4C05-ADB5-6C19A53EE743}" presName="rootText1" presStyleLbl="node0" presStyleIdx="0" presStyleCnt="1" custScaleX="347101" custScaleY="131576" custLinFactNeighborX="0" custLinFactNeighborY="-21800">
        <dgm:presLayoutVars>
          <dgm:chPref val="3"/>
        </dgm:presLayoutVars>
      </dgm:prSet>
      <dgm:spPr/>
      <dgm:t>
        <a:bodyPr/>
        <a:lstStyle/>
        <a:p>
          <a:endParaRPr lang="hr-HR"/>
        </a:p>
      </dgm:t>
    </dgm:pt>
    <dgm:pt modelId="{53B041E9-057C-4CDC-A2C5-A98F7AB82096}" type="pres">
      <dgm:prSet presAssocID="{82E16B82-59AE-4C05-ADB5-6C19A53EE743}" presName="rootConnector1" presStyleLbl="node1" presStyleIdx="0" presStyleCnt="0"/>
      <dgm:spPr/>
      <dgm:t>
        <a:bodyPr/>
        <a:lstStyle/>
        <a:p>
          <a:endParaRPr lang="hr-HR"/>
        </a:p>
      </dgm:t>
    </dgm:pt>
    <dgm:pt modelId="{5E470F17-B56B-43E4-AE89-E1702A7237F4}" type="pres">
      <dgm:prSet presAssocID="{82E16B82-59AE-4C05-ADB5-6C19A53EE743}" presName="hierChild2" presStyleCnt="0"/>
      <dgm:spPr/>
    </dgm:pt>
    <dgm:pt modelId="{387A8814-0041-4CB7-83B9-D73878F1A6C4}" type="pres">
      <dgm:prSet presAssocID="{82E16B82-59AE-4C05-ADB5-6C19A53EE743}" presName="hierChild3" presStyleCnt="0"/>
      <dgm:spPr/>
    </dgm:pt>
    <dgm:pt modelId="{9CB0AC67-2A4D-48DD-B611-A3C34F0A867C}" type="pres">
      <dgm:prSet presAssocID="{0493AB52-932F-4DB2-BA23-F6B17944876E}" presName="Name111" presStyleLbl="parChTrans1D2" presStyleIdx="0" presStyleCnt="2"/>
      <dgm:spPr/>
      <dgm:t>
        <a:bodyPr/>
        <a:lstStyle/>
        <a:p>
          <a:endParaRPr lang="hr-HR"/>
        </a:p>
      </dgm:t>
    </dgm:pt>
    <dgm:pt modelId="{E91DBDF5-5432-4AAB-B196-21B5BF7E8625}" type="pres">
      <dgm:prSet presAssocID="{FC631B22-B72F-42CF-85AD-F9DC385CCF67}" presName="hierRoot3" presStyleCnt="0">
        <dgm:presLayoutVars>
          <dgm:hierBranch val="init"/>
        </dgm:presLayoutVars>
      </dgm:prSet>
      <dgm:spPr/>
    </dgm:pt>
    <dgm:pt modelId="{6BC3793C-F159-421F-8F28-049747F504FB}" type="pres">
      <dgm:prSet presAssocID="{FC631B22-B72F-42CF-85AD-F9DC385CCF67}" presName="rootComposite3" presStyleCnt="0"/>
      <dgm:spPr/>
    </dgm:pt>
    <dgm:pt modelId="{B7C201D4-C796-4E10-9728-48A421CC21D4}" type="pres">
      <dgm:prSet presAssocID="{FC631B22-B72F-42CF-85AD-F9DC385CCF67}" presName="rootText3" presStyleLbl="asst1" presStyleIdx="0" presStyleCnt="2" custLinFactY="33092" custLinFactNeighborX="19337" custLinFactNeighborY="100000">
        <dgm:presLayoutVars>
          <dgm:chPref val="3"/>
        </dgm:presLayoutVars>
      </dgm:prSet>
      <dgm:spPr/>
      <dgm:t>
        <a:bodyPr/>
        <a:lstStyle/>
        <a:p>
          <a:endParaRPr lang="hr-HR"/>
        </a:p>
      </dgm:t>
    </dgm:pt>
    <dgm:pt modelId="{6E839539-364B-4533-8EC0-E4AFE6082322}" type="pres">
      <dgm:prSet presAssocID="{FC631B22-B72F-42CF-85AD-F9DC385CCF67}" presName="rootConnector3" presStyleLbl="asst1" presStyleIdx="0" presStyleCnt="2"/>
      <dgm:spPr/>
      <dgm:t>
        <a:bodyPr/>
        <a:lstStyle/>
        <a:p>
          <a:endParaRPr lang="hr-HR"/>
        </a:p>
      </dgm:t>
    </dgm:pt>
    <dgm:pt modelId="{0E81871D-8886-4C8F-8C3C-04E34BA8F742}" type="pres">
      <dgm:prSet presAssocID="{FC631B22-B72F-42CF-85AD-F9DC385CCF67}" presName="hierChild6" presStyleCnt="0"/>
      <dgm:spPr/>
    </dgm:pt>
    <dgm:pt modelId="{26C14F0F-4EEA-45E8-82B4-20629124F5EA}" type="pres">
      <dgm:prSet presAssocID="{7A86190C-4E88-4807-93B7-DBE28C19E846}" presName="Name37" presStyleLbl="parChTrans1D3" presStyleIdx="0" presStyleCnt="4"/>
      <dgm:spPr/>
      <dgm:t>
        <a:bodyPr/>
        <a:lstStyle/>
        <a:p>
          <a:endParaRPr lang="hr-HR"/>
        </a:p>
      </dgm:t>
    </dgm:pt>
    <dgm:pt modelId="{3D65BAA0-5161-49DB-A0A8-27AB271BBDF5}" type="pres">
      <dgm:prSet presAssocID="{EF9763B7-33C7-4758-83CF-6ECC975684E6}" presName="hierRoot2" presStyleCnt="0">
        <dgm:presLayoutVars>
          <dgm:hierBranch val="init"/>
        </dgm:presLayoutVars>
      </dgm:prSet>
      <dgm:spPr/>
    </dgm:pt>
    <dgm:pt modelId="{4060A182-3E89-480F-A8AE-A64DA87B0649}" type="pres">
      <dgm:prSet presAssocID="{EF9763B7-33C7-4758-83CF-6ECC975684E6}" presName="rootComposite" presStyleCnt="0"/>
      <dgm:spPr/>
    </dgm:pt>
    <dgm:pt modelId="{9E856F62-34BD-4C1B-B5A1-927A94F3EFBF}" type="pres">
      <dgm:prSet presAssocID="{EF9763B7-33C7-4758-83CF-6ECC975684E6}" presName="rootText" presStyleLbl="node3" presStyleIdx="0" presStyleCnt="4" custLinFactY="52293" custLinFactNeighborX="9750" custLinFactNeighborY="100000">
        <dgm:presLayoutVars>
          <dgm:chPref val="3"/>
        </dgm:presLayoutVars>
      </dgm:prSet>
      <dgm:spPr/>
      <dgm:t>
        <a:bodyPr/>
        <a:lstStyle/>
        <a:p>
          <a:endParaRPr lang="hr-HR"/>
        </a:p>
      </dgm:t>
    </dgm:pt>
    <dgm:pt modelId="{D4C57D54-1CEE-4850-BBB8-6B38B5DE3283}" type="pres">
      <dgm:prSet presAssocID="{EF9763B7-33C7-4758-83CF-6ECC975684E6}" presName="rootConnector" presStyleLbl="node3" presStyleIdx="0" presStyleCnt="4"/>
      <dgm:spPr/>
      <dgm:t>
        <a:bodyPr/>
        <a:lstStyle/>
        <a:p>
          <a:endParaRPr lang="hr-HR"/>
        </a:p>
      </dgm:t>
    </dgm:pt>
    <dgm:pt modelId="{E54CC9B7-7B47-487C-9140-D5B9C974F72B}" type="pres">
      <dgm:prSet presAssocID="{EF9763B7-33C7-4758-83CF-6ECC975684E6}" presName="hierChild4" presStyleCnt="0"/>
      <dgm:spPr/>
    </dgm:pt>
    <dgm:pt modelId="{7751C6D7-8AA8-444E-9E3A-7D60EC3890CD}" type="pres">
      <dgm:prSet presAssocID="{EF9763B7-33C7-4758-83CF-6ECC975684E6}" presName="hierChild5" presStyleCnt="0"/>
      <dgm:spPr/>
    </dgm:pt>
    <dgm:pt modelId="{06DFEF22-14E3-4AC8-B896-1674CC7C47ED}" type="pres">
      <dgm:prSet presAssocID="{090F7BAB-81E0-4856-AE77-AC114CF8BB46}" presName="Name37" presStyleLbl="parChTrans1D3" presStyleIdx="1" presStyleCnt="4"/>
      <dgm:spPr/>
      <dgm:t>
        <a:bodyPr/>
        <a:lstStyle/>
        <a:p>
          <a:endParaRPr lang="hr-HR"/>
        </a:p>
      </dgm:t>
    </dgm:pt>
    <dgm:pt modelId="{EF2BF0CF-0041-442E-BD14-15ADD0840977}" type="pres">
      <dgm:prSet presAssocID="{4E748735-A3FE-445D-88D2-29F31E4BF063}" presName="hierRoot2" presStyleCnt="0">
        <dgm:presLayoutVars>
          <dgm:hierBranch val="init"/>
        </dgm:presLayoutVars>
      </dgm:prSet>
      <dgm:spPr/>
    </dgm:pt>
    <dgm:pt modelId="{5161E845-3D50-4D62-9CF6-85AC1727F686}" type="pres">
      <dgm:prSet presAssocID="{4E748735-A3FE-445D-88D2-29F31E4BF063}" presName="rootComposite" presStyleCnt="0"/>
      <dgm:spPr/>
    </dgm:pt>
    <dgm:pt modelId="{552B2292-3A87-4562-93E4-5EC28BEA50BF}" type="pres">
      <dgm:prSet presAssocID="{4E748735-A3FE-445D-88D2-29F31E4BF063}" presName="rootText" presStyleLbl="node3" presStyleIdx="1" presStyleCnt="4" custLinFactNeighborX="-96038" custLinFactNeighborY="10293">
        <dgm:presLayoutVars>
          <dgm:chPref val="3"/>
        </dgm:presLayoutVars>
      </dgm:prSet>
      <dgm:spPr/>
      <dgm:t>
        <a:bodyPr/>
        <a:lstStyle/>
        <a:p>
          <a:endParaRPr lang="hr-HR"/>
        </a:p>
      </dgm:t>
    </dgm:pt>
    <dgm:pt modelId="{3E28A236-8FAB-4253-8226-9C38C863E84E}" type="pres">
      <dgm:prSet presAssocID="{4E748735-A3FE-445D-88D2-29F31E4BF063}" presName="rootConnector" presStyleLbl="node3" presStyleIdx="1" presStyleCnt="4"/>
      <dgm:spPr/>
      <dgm:t>
        <a:bodyPr/>
        <a:lstStyle/>
        <a:p>
          <a:endParaRPr lang="hr-HR"/>
        </a:p>
      </dgm:t>
    </dgm:pt>
    <dgm:pt modelId="{2F78A656-7494-47D8-BD84-DEAC4812A9FA}" type="pres">
      <dgm:prSet presAssocID="{4E748735-A3FE-445D-88D2-29F31E4BF063}" presName="hierChild4" presStyleCnt="0"/>
      <dgm:spPr/>
    </dgm:pt>
    <dgm:pt modelId="{0A71A46B-9211-430B-A95E-9F7F8D036926}" type="pres">
      <dgm:prSet presAssocID="{4E748735-A3FE-445D-88D2-29F31E4BF063}" presName="hierChild5" presStyleCnt="0"/>
      <dgm:spPr/>
    </dgm:pt>
    <dgm:pt modelId="{1AFC3D2A-9889-49F2-897F-273DB62557AB}" type="pres">
      <dgm:prSet presAssocID="{FC631B22-B72F-42CF-85AD-F9DC385CCF67}" presName="hierChild7" presStyleCnt="0"/>
      <dgm:spPr/>
    </dgm:pt>
    <dgm:pt modelId="{B401832D-A51E-4DAC-AD9B-26F2ACEDBDB0}" type="pres">
      <dgm:prSet presAssocID="{E0F4823C-F2F0-4646-B485-3CF4BE94948A}" presName="Name111" presStyleLbl="parChTrans1D2" presStyleIdx="1" presStyleCnt="2"/>
      <dgm:spPr/>
      <dgm:t>
        <a:bodyPr/>
        <a:lstStyle/>
        <a:p>
          <a:endParaRPr lang="hr-HR"/>
        </a:p>
      </dgm:t>
    </dgm:pt>
    <dgm:pt modelId="{C4A03E59-919A-4435-85E6-1870393A58C7}" type="pres">
      <dgm:prSet presAssocID="{338B09E0-7073-44E4-9151-2A1193CAAF79}" presName="hierRoot3" presStyleCnt="0">
        <dgm:presLayoutVars>
          <dgm:hierBranch val="init"/>
        </dgm:presLayoutVars>
      </dgm:prSet>
      <dgm:spPr/>
    </dgm:pt>
    <dgm:pt modelId="{3E9BF3EC-25AB-492E-B00B-266A36E11E5B}" type="pres">
      <dgm:prSet presAssocID="{338B09E0-7073-44E4-9151-2A1193CAAF79}" presName="rootComposite3" presStyleCnt="0"/>
      <dgm:spPr/>
    </dgm:pt>
    <dgm:pt modelId="{CD7D04B2-46DF-4D83-8405-5C1039579629}" type="pres">
      <dgm:prSet presAssocID="{338B09E0-7073-44E4-9151-2A1193CAAF79}" presName="rootText3" presStyleLbl="asst1" presStyleIdx="1" presStyleCnt="2" custLinFactY="33092" custLinFactNeighborX="39875" custLinFactNeighborY="100000">
        <dgm:presLayoutVars>
          <dgm:chPref val="3"/>
        </dgm:presLayoutVars>
      </dgm:prSet>
      <dgm:spPr/>
      <dgm:t>
        <a:bodyPr/>
        <a:lstStyle/>
        <a:p>
          <a:endParaRPr lang="hr-HR"/>
        </a:p>
      </dgm:t>
    </dgm:pt>
    <dgm:pt modelId="{48B31FC6-2DF7-436C-90BE-661684C6D3A8}" type="pres">
      <dgm:prSet presAssocID="{338B09E0-7073-44E4-9151-2A1193CAAF79}" presName="rootConnector3" presStyleLbl="asst1" presStyleIdx="1" presStyleCnt="2"/>
      <dgm:spPr/>
      <dgm:t>
        <a:bodyPr/>
        <a:lstStyle/>
        <a:p>
          <a:endParaRPr lang="hr-HR"/>
        </a:p>
      </dgm:t>
    </dgm:pt>
    <dgm:pt modelId="{45B6511F-F757-4423-B8AC-D060EA06B7F5}" type="pres">
      <dgm:prSet presAssocID="{338B09E0-7073-44E4-9151-2A1193CAAF79}" presName="hierChild6" presStyleCnt="0"/>
      <dgm:spPr/>
    </dgm:pt>
    <dgm:pt modelId="{60917A89-D5A2-4B86-BB8B-A142290E7E5C}" type="pres">
      <dgm:prSet presAssocID="{0EAD261F-0ED9-43B1-9393-2FF468EAC26A}" presName="Name37" presStyleLbl="parChTrans1D3" presStyleIdx="2" presStyleCnt="4"/>
      <dgm:spPr/>
      <dgm:t>
        <a:bodyPr/>
        <a:lstStyle/>
        <a:p>
          <a:endParaRPr lang="hr-HR"/>
        </a:p>
      </dgm:t>
    </dgm:pt>
    <dgm:pt modelId="{F914B34C-C305-4DEC-8C20-DECF5E7D98DE}" type="pres">
      <dgm:prSet presAssocID="{90114DFB-6A76-4CF6-97E4-CB78E2702B27}" presName="hierRoot2" presStyleCnt="0">
        <dgm:presLayoutVars>
          <dgm:hierBranch val="init"/>
        </dgm:presLayoutVars>
      </dgm:prSet>
      <dgm:spPr/>
    </dgm:pt>
    <dgm:pt modelId="{184D28AD-9871-4E7D-86D5-E7A2290A496D}" type="pres">
      <dgm:prSet presAssocID="{90114DFB-6A76-4CF6-97E4-CB78E2702B27}" presName="rootComposite" presStyleCnt="0"/>
      <dgm:spPr/>
    </dgm:pt>
    <dgm:pt modelId="{759D9052-E0CA-4D4C-A65C-04C315AF6DF2}" type="pres">
      <dgm:prSet presAssocID="{90114DFB-6A76-4CF6-97E4-CB78E2702B27}" presName="rootText" presStyleLbl="node3" presStyleIdx="2" presStyleCnt="4" custLinFactY="52293" custLinFactNeighborX="30288" custLinFactNeighborY="100000">
        <dgm:presLayoutVars>
          <dgm:chPref val="3"/>
        </dgm:presLayoutVars>
      </dgm:prSet>
      <dgm:spPr/>
      <dgm:t>
        <a:bodyPr/>
        <a:lstStyle/>
        <a:p>
          <a:endParaRPr lang="hr-HR"/>
        </a:p>
      </dgm:t>
    </dgm:pt>
    <dgm:pt modelId="{70FA387D-3AA7-42B4-B8BF-0C493C5B34B3}" type="pres">
      <dgm:prSet presAssocID="{90114DFB-6A76-4CF6-97E4-CB78E2702B27}" presName="rootConnector" presStyleLbl="node3" presStyleIdx="2" presStyleCnt="4"/>
      <dgm:spPr/>
      <dgm:t>
        <a:bodyPr/>
        <a:lstStyle/>
        <a:p>
          <a:endParaRPr lang="hr-HR"/>
        </a:p>
      </dgm:t>
    </dgm:pt>
    <dgm:pt modelId="{64F9EB97-E585-4EB0-9130-84D2913C3325}" type="pres">
      <dgm:prSet presAssocID="{90114DFB-6A76-4CF6-97E4-CB78E2702B27}" presName="hierChild4" presStyleCnt="0"/>
      <dgm:spPr/>
    </dgm:pt>
    <dgm:pt modelId="{37399B1B-3904-4774-B247-3ADBCCED786A}" type="pres">
      <dgm:prSet presAssocID="{90114DFB-6A76-4CF6-97E4-CB78E2702B27}" presName="hierChild5" presStyleCnt="0"/>
      <dgm:spPr/>
    </dgm:pt>
    <dgm:pt modelId="{1CF1C7A9-E8C5-4AC2-AEBA-4CA29C73BFAB}" type="pres">
      <dgm:prSet presAssocID="{A56932DF-B49A-4BAF-A0B5-2302EDC66D7A}" presName="Name37" presStyleLbl="parChTrans1D3" presStyleIdx="3" presStyleCnt="4"/>
      <dgm:spPr/>
      <dgm:t>
        <a:bodyPr/>
        <a:lstStyle/>
        <a:p>
          <a:endParaRPr lang="hr-HR"/>
        </a:p>
      </dgm:t>
    </dgm:pt>
    <dgm:pt modelId="{05DE3167-CFA0-4D05-B1E8-96D0FB8405DB}" type="pres">
      <dgm:prSet presAssocID="{5FCD901D-F90F-44B3-BF54-E83DEEC7677B}" presName="hierRoot2" presStyleCnt="0">
        <dgm:presLayoutVars>
          <dgm:hierBranch val="init"/>
        </dgm:presLayoutVars>
      </dgm:prSet>
      <dgm:spPr/>
    </dgm:pt>
    <dgm:pt modelId="{6BC063AD-B849-4BF9-8C23-E396239BE0CD}" type="pres">
      <dgm:prSet presAssocID="{5FCD901D-F90F-44B3-BF54-E83DEEC7677B}" presName="rootComposite" presStyleCnt="0"/>
      <dgm:spPr/>
    </dgm:pt>
    <dgm:pt modelId="{B90AF4A0-DB11-44CA-8322-C712B5244240}" type="pres">
      <dgm:prSet presAssocID="{5FCD901D-F90F-44B3-BF54-E83DEEC7677B}" presName="rootText" presStyleLbl="node3" presStyleIdx="3" presStyleCnt="4" custLinFactNeighborX="-75500" custLinFactNeighborY="10293">
        <dgm:presLayoutVars>
          <dgm:chPref val="3"/>
        </dgm:presLayoutVars>
      </dgm:prSet>
      <dgm:spPr/>
      <dgm:t>
        <a:bodyPr/>
        <a:lstStyle/>
        <a:p>
          <a:endParaRPr lang="hr-HR"/>
        </a:p>
      </dgm:t>
    </dgm:pt>
    <dgm:pt modelId="{CCB0F779-7662-4D65-B78D-4333E11FF447}" type="pres">
      <dgm:prSet presAssocID="{5FCD901D-F90F-44B3-BF54-E83DEEC7677B}" presName="rootConnector" presStyleLbl="node3" presStyleIdx="3" presStyleCnt="4"/>
      <dgm:spPr/>
      <dgm:t>
        <a:bodyPr/>
        <a:lstStyle/>
        <a:p>
          <a:endParaRPr lang="hr-HR"/>
        </a:p>
      </dgm:t>
    </dgm:pt>
    <dgm:pt modelId="{38418F4E-8149-4E61-818D-E8F992DD2C92}" type="pres">
      <dgm:prSet presAssocID="{5FCD901D-F90F-44B3-BF54-E83DEEC7677B}" presName="hierChild4" presStyleCnt="0"/>
      <dgm:spPr/>
    </dgm:pt>
    <dgm:pt modelId="{72F11046-4BF5-4462-9E8D-6CE2CAC698E8}" type="pres">
      <dgm:prSet presAssocID="{5FCD901D-F90F-44B3-BF54-E83DEEC7677B}" presName="hierChild5" presStyleCnt="0"/>
      <dgm:spPr/>
    </dgm:pt>
    <dgm:pt modelId="{D366DEB0-00DA-4A01-B926-352180400C44}" type="pres">
      <dgm:prSet presAssocID="{338B09E0-7073-44E4-9151-2A1193CAAF79}" presName="hierChild7" presStyleCnt="0"/>
      <dgm:spPr/>
    </dgm:pt>
  </dgm:ptLst>
  <dgm:cxnLst>
    <dgm:cxn modelId="{6710D875-4CBC-4A6D-AC2E-72CB27B55AB3}" type="presOf" srcId="{FC631B22-B72F-42CF-85AD-F9DC385CCF67}" destId="{6E839539-364B-4533-8EC0-E4AFE6082322}" srcOrd="1" destOrd="0" presId="urn:microsoft.com/office/officeart/2005/8/layout/orgChart1"/>
    <dgm:cxn modelId="{1F684F51-06B6-45B0-BA1A-8D1CEFEB6F61}" type="presOf" srcId="{90114DFB-6A76-4CF6-97E4-CB78E2702B27}" destId="{70FA387D-3AA7-42B4-B8BF-0C493C5B34B3}" srcOrd="1" destOrd="0" presId="urn:microsoft.com/office/officeart/2005/8/layout/orgChart1"/>
    <dgm:cxn modelId="{E50AA9B7-DEBD-40DA-BE3D-F27446C7A0E4}" type="presOf" srcId="{82E16B82-59AE-4C05-ADB5-6C19A53EE743}" destId="{5146EC66-9508-4355-B566-0D31387A0121}" srcOrd="0" destOrd="0" presId="urn:microsoft.com/office/officeart/2005/8/layout/orgChart1"/>
    <dgm:cxn modelId="{A43B85BF-2407-4857-A972-E1FA0D607779}" type="presOf" srcId="{FC631B22-B72F-42CF-85AD-F9DC385CCF67}" destId="{B7C201D4-C796-4E10-9728-48A421CC21D4}" srcOrd="0" destOrd="0" presId="urn:microsoft.com/office/officeart/2005/8/layout/orgChart1"/>
    <dgm:cxn modelId="{4D725762-D0D2-4EF5-AFA1-D97475AD7346}" type="presOf" srcId="{E0F4823C-F2F0-4646-B485-3CF4BE94948A}" destId="{B401832D-A51E-4DAC-AD9B-26F2ACEDBDB0}" srcOrd="0" destOrd="0" presId="urn:microsoft.com/office/officeart/2005/8/layout/orgChart1"/>
    <dgm:cxn modelId="{65B8FD5D-71D2-4606-AF73-A24BEC42E347}" type="presOf" srcId="{EF9763B7-33C7-4758-83CF-6ECC975684E6}" destId="{D4C57D54-1CEE-4850-BBB8-6B38B5DE3283}" srcOrd="1" destOrd="0" presId="urn:microsoft.com/office/officeart/2005/8/layout/orgChart1"/>
    <dgm:cxn modelId="{F0D85A93-4D91-41C6-B98A-4A97189921A6}" type="presOf" srcId="{5FCD901D-F90F-44B3-BF54-E83DEEC7677B}" destId="{B90AF4A0-DB11-44CA-8322-C712B5244240}" srcOrd="0" destOrd="0" presId="urn:microsoft.com/office/officeart/2005/8/layout/orgChart1"/>
    <dgm:cxn modelId="{16E30FE3-36AE-4734-BDEE-223C1CE4A64E}" type="presOf" srcId="{4E748735-A3FE-445D-88D2-29F31E4BF063}" destId="{552B2292-3A87-4562-93E4-5EC28BEA50BF}" srcOrd="0" destOrd="0" presId="urn:microsoft.com/office/officeart/2005/8/layout/orgChart1"/>
    <dgm:cxn modelId="{744F8F7B-CDBB-4E0A-8835-00CB87B84C0B}" type="presOf" srcId="{4E748735-A3FE-445D-88D2-29F31E4BF063}" destId="{3E28A236-8FAB-4253-8226-9C38C863E84E}" srcOrd="1" destOrd="0" presId="urn:microsoft.com/office/officeart/2005/8/layout/orgChart1"/>
    <dgm:cxn modelId="{D2876DB3-537D-4296-88C1-465F43AF6463}" srcId="{82E16B82-59AE-4C05-ADB5-6C19A53EE743}" destId="{FC631B22-B72F-42CF-85AD-F9DC385CCF67}" srcOrd="0" destOrd="0" parTransId="{0493AB52-932F-4DB2-BA23-F6B17944876E}" sibTransId="{40BFFB01-BC3C-4958-A129-119B43ECBF2C}"/>
    <dgm:cxn modelId="{DC5E36DF-A1C5-4FAF-8FC8-1A9420432DCF}" type="presOf" srcId="{90114DFB-6A76-4CF6-97E4-CB78E2702B27}" destId="{759D9052-E0CA-4D4C-A65C-04C315AF6DF2}" srcOrd="0" destOrd="0" presId="urn:microsoft.com/office/officeart/2005/8/layout/orgChart1"/>
    <dgm:cxn modelId="{F3C65D56-319F-4529-AA73-DF4ECF0948FF}" type="presOf" srcId="{7A86190C-4E88-4807-93B7-DBE28C19E846}" destId="{26C14F0F-4EEA-45E8-82B4-20629124F5EA}" srcOrd="0" destOrd="0" presId="urn:microsoft.com/office/officeart/2005/8/layout/orgChart1"/>
    <dgm:cxn modelId="{F7E7CD12-ABFE-4FE9-8A80-7591FB770F92}" type="presOf" srcId="{338B09E0-7073-44E4-9151-2A1193CAAF79}" destId="{48B31FC6-2DF7-436C-90BE-661684C6D3A8}" srcOrd="1" destOrd="0" presId="urn:microsoft.com/office/officeart/2005/8/layout/orgChart1"/>
    <dgm:cxn modelId="{0B698B2B-32B0-45E8-A297-147C04B3B15C}" type="presOf" srcId="{EF9763B7-33C7-4758-83CF-6ECC975684E6}" destId="{9E856F62-34BD-4C1B-B5A1-927A94F3EFBF}" srcOrd="0" destOrd="0" presId="urn:microsoft.com/office/officeart/2005/8/layout/orgChart1"/>
    <dgm:cxn modelId="{57874A0A-946C-4A7D-9459-A6DEC084C2FB}" srcId="{FC631B22-B72F-42CF-85AD-F9DC385CCF67}" destId="{4E748735-A3FE-445D-88D2-29F31E4BF063}" srcOrd="1" destOrd="0" parTransId="{090F7BAB-81E0-4856-AE77-AC114CF8BB46}" sibTransId="{C14E22DF-F1E7-4A5A-B2BE-8F5C1136563A}"/>
    <dgm:cxn modelId="{BF424199-C4FA-422E-838F-0B9CCFC4FF59}" srcId="{338B09E0-7073-44E4-9151-2A1193CAAF79}" destId="{90114DFB-6A76-4CF6-97E4-CB78E2702B27}" srcOrd="0" destOrd="0" parTransId="{0EAD261F-0ED9-43B1-9393-2FF468EAC26A}" sibTransId="{591B99E3-DEC9-4A77-B9D8-F54AE7C00C06}"/>
    <dgm:cxn modelId="{F86DE9E8-BA85-4BE6-9C98-AAE828783556}" srcId="{82E16B82-59AE-4C05-ADB5-6C19A53EE743}" destId="{338B09E0-7073-44E4-9151-2A1193CAAF79}" srcOrd="1" destOrd="0" parTransId="{E0F4823C-F2F0-4646-B485-3CF4BE94948A}" sibTransId="{29E5BF3C-EFBC-4808-82A1-1F875A48F930}"/>
    <dgm:cxn modelId="{6945BAD3-60BD-4FFD-9D35-BCBB234EBC1C}" type="presOf" srcId="{0493AB52-932F-4DB2-BA23-F6B17944876E}" destId="{9CB0AC67-2A4D-48DD-B611-A3C34F0A867C}" srcOrd="0" destOrd="0" presId="urn:microsoft.com/office/officeart/2005/8/layout/orgChart1"/>
    <dgm:cxn modelId="{C813CEFC-5619-4EE6-AA52-92E2AC0EDCB6}" type="presOf" srcId="{5FCD901D-F90F-44B3-BF54-E83DEEC7677B}" destId="{CCB0F779-7662-4D65-B78D-4333E11FF447}" srcOrd="1" destOrd="0" presId="urn:microsoft.com/office/officeart/2005/8/layout/orgChart1"/>
    <dgm:cxn modelId="{E65406D4-46A8-499B-86A8-1FB1B28A0ECF}" type="presOf" srcId="{338B09E0-7073-44E4-9151-2A1193CAAF79}" destId="{CD7D04B2-46DF-4D83-8405-5C1039579629}" srcOrd="0" destOrd="0" presId="urn:microsoft.com/office/officeart/2005/8/layout/orgChart1"/>
    <dgm:cxn modelId="{ACCAB702-3FB5-4D31-9FAE-1A29E0F9F4E0}" srcId="{338B09E0-7073-44E4-9151-2A1193CAAF79}" destId="{5FCD901D-F90F-44B3-BF54-E83DEEC7677B}" srcOrd="1" destOrd="0" parTransId="{A56932DF-B49A-4BAF-A0B5-2302EDC66D7A}" sibTransId="{EBDF8C33-7E2C-4CA6-AE4D-75BBC5FC55B0}"/>
    <dgm:cxn modelId="{39A8F249-0BE2-438E-BCAE-98CDFE076183}" type="presOf" srcId="{090F7BAB-81E0-4856-AE77-AC114CF8BB46}" destId="{06DFEF22-14E3-4AC8-B896-1674CC7C47ED}" srcOrd="0" destOrd="0" presId="urn:microsoft.com/office/officeart/2005/8/layout/orgChart1"/>
    <dgm:cxn modelId="{4DEE5FE5-08A9-45D5-B537-999BF466CEBA}" type="presOf" srcId="{A56932DF-B49A-4BAF-A0B5-2302EDC66D7A}" destId="{1CF1C7A9-E8C5-4AC2-AEBA-4CA29C73BFAB}" srcOrd="0" destOrd="0" presId="urn:microsoft.com/office/officeart/2005/8/layout/orgChart1"/>
    <dgm:cxn modelId="{F44A2351-6EBE-4668-85C2-8CC6CAD195AB}" srcId="{ADEB8893-EA93-46B5-975D-287F3F18BF94}" destId="{82E16B82-59AE-4C05-ADB5-6C19A53EE743}" srcOrd="0" destOrd="0" parTransId="{389D8201-76C5-406D-84CF-21892070F010}" sibTransId="{80AD3ED4-A5C2-48E1-A0CC-86D2FF5CF1D7}"/>
    <dgm:cxn modelId="{F779E10C-A328-477A-A5F9-C34859AF67AE}" srcId="{FC631B22-B72F-42CF-85AD-F9DC385CCF67}" destId="{EF9763B7-33C7-4758-83CF-6ECC975684E6}" srcOrd="0" destOrd="0" parTransId="{7A86190C-4E88-4807-93B7-DBE28C19E846}" sibTransId="{7FAD5F41-4EA0-4F7B-A2EB-95B4C6CE93D9}"/>
    <dgm:cxn modelId="{F0CDD854-E96C-45E3-8B0B-DFCC6531EEBB}" type="presOf" srcId="{0EAD261F-0ED9-43B1-9393-2FF468EAC26A}" destId="{60917A89-D5A2-4B86-BB8B-A142290E7E5C}" srcOrd="0" destOrd="0" presId="urn:microsoft.com/office/officeart/2005/8/layout/orgChart1"/>
    <dgm:cxn modelId="{61351783-FB72-4B92-B20A-3591B4CBA9FD}" type="presOf" srcId="{ADEB8893-EA93-46B5-975D-287F3F18BF94}" destId="{0EF48727-0303-4068-87AA-7F2283CE5CDA}" srcOrd="0" destOrd="0" presId="urn:microsoft.com/office/officeart/2005/8/layout/orgChart1"/>
    <dgm:cxn modelId="{E9BF262E-5E9A-44D4-8CF8-06FB38DED140}" type="presOf" srcId="{82E16B82-59AE-4C05-ADB5-6C19A53EE743}" destId="{53B041E9-057C-4CDC-A2C5-A98F7AB82096}" srcOrd="1" destOrd="0" presId="urn:microsoft.com/office/officeart/2005/8/layout/orgChart1"/>
    <dgm:cxn modelId="{60A0BEA4-CD6B-4626-A5F4-30A85E7A3D11}" type="presParOf" srcId="{0EF48727-0303-4068-87AA-7F2283CE5CDA}" destId="{70421DE2-3202-4194-A6B1-4D21CD0D543B}" srcOrd="0" destOrd="0" presId="urn:microsoft.com/office/officeart/2005/8/layout/orgChart1"/>
    <dgm:cxn modelId="{AB96B8D0-9E8A-49D4-8F28-C65288D87FFD}" type="presParOf" srcId="{70421DE2-3202-4194-A6B1-4D21CD0D543B}" destId="{9CC787A5-8F4A-4253-9470-EA7356001D78}" srcOrd="0" destOrd="0" presId="urn:microsoft.com/office/officeart/2005/8/layout/orgChart1"/>
    <dgm:cxn modelId="{BBBD34BB-DCF6-4F04-BCBD-FB80D5967332}" type="presParOf" srcId="{9CC787A5-8F4A-4253-9470-EA7356001D78}" destId="{5146EC66-9508-4355-B566-0D31387A0121}" srcOrd="0" destOrd="0" presId="urn:microsoft.com/office/officeart/2005/8/layout/orgChart1"/>
    <dgm:cxn modelId="{669976FE-EDA0-444F-A26F-A0964EF600EE}" type="presParOf" srcId="{9CC787A5-8F4A-4253-9470-EA7356001D78}" destId="{53B041E9-057C-4CDC-A2C5-A98F7AB82096}" srcOrd="1" destOrd="0" presId="urn:microsoft.com/office/officeart/2005/8/layout/orgChart1"/>
    <dgm:cxn modelId="{0FA3D592-36E5-4123-BF65-8F30D029558A}" type="presParOf" srcId="{70421DE2-3202-4194-A6B1-4D21CD0D543B}" destId="{5E470F17-B56B-43E4-AE89-E1702A7237F4}" srcOrd="1" destOrd="0" presId="urn:microsoft.com/office/officeart/2005/8/layout/orgChart1"/>
    <dgm:cxn modelId="{7DA9AACF-E113-463D-9F87-9D60D3A9A334}" type="presParOf" srcId="{70421DE2-3202-4194-A6B1-4D21CD0D543B}" destId="{387A8814-0041-4CB7-83B9-D73878F1A6C4}" srcOrd="2" destOrd="0" presId="urn:microsoft.com/office/officeart/2005/8/layout/orgChart1"/>
    <dgm:cxn modelId="{31B985F2-C487-45BA-9438-1BD7304CEC2E}" type="presParOf" srcId="{387A8814-0041-4CB7-83B9-D73878F1A6C4}" destId="{9CB0AC67-2A4D-48DD-B611-A3C34F0A867C}" srcOrd="0" destOrd="0" presId="urn:microsoft.com/office/officeart/2005/8/layout/orgChart1"/>
    <dgm:cxn modelId="{8B25DE9A-CF71-4E39-A14F-CC406E3DA453}" type="presParOf" srcId="{387A8814-0041-4CB7-83B9-D73878F1A6C4}" destId="{E91DBDF5-5432-4AAB-B196-21B5BF7E8625}" srcOrd="1" destOrd="0" presId="urn:microsoft.com/office/officeart/2005/8/layout/orgChart1"/>
    <dgm:cxn modelId="{62DB48BA-1B74-4F6F-AB0E-DAF80182EC35}" type="presParOf" srcId="{E91DBDF5-5432-4AAB-B196-21B5BF7E8625}" destId="{6BC3793C-F159-421F-8F28-049747F504FB}" srcOrd="0" destOrd="0" presId="urn:microsoft.com/office/officeart/2005/8/layout/orgChart1"/>
    <dgm:cxn modelId="{4D814917-7263-436E-A56A-C719DD27DE0C}" type="presParOf" srcId="{6BC3793C-F159-421F-8F28-049747F504FB}" destId="{B7C201D4-C796-4E10-9728-48A421CC21D4}" srcOrd="0" destOrd="0" presId="urn:microsoft.com/office/officeart/2005/8/layout/orgChart1"/>
    <dgm:cxn modelId="{931B3F3D-50DD-4EE1-BB12-5BF0C5B999EB}" type="presParOf" srcId="{6BC3793C-F159-421F-8F28-049747F504FB}" destId="{6E839539-364B-4533-8EC0-E4AFE6082322}" srcOrd="1" destOrd="0" presId="urn:microsoft.com/office/officeart/2005/8/layout/orgChart1"/>
    <dgm:cxn modelId="{1381FEAA-E82F-4CD2-950F-FD06D15DDC39}" type="presParOf" srcId="{E91DBDF5-5432-4AAB-B196-21B5BF7E8625}" destId="{0E81871D-8886-4C8F-8C3C-04E34BA8F742}" srcOrd="1" destOrd="0" presId="urn:microsoft.com/office/officeart/2005/8/layout/orgChart1"/>
    <dgm:cxn modelId="{A2CF1638-35CE-4FD0-A55C-CFA0B30424DD}" type="presParOf" srcId="{0E81871D-8886-4C8F-8C3C-04E34BA8F742}" destId="{26C14F0F-4EEA-45E8-82B4-20629124F5EA}" srcOrd="0" destOrd="0" presId="urn:microsoft.com/office/officeart/2005/8/layout/orgChart1"/>
    <dgm:cxn modelId="{F9F11C3C-0584-42E1-8236-75F4505FA020}" type="presParOf" srcId="{0E81871D-8886-4C8F-8C3C-04E34BA8F742}" destId="{3D65BAA0-5161-49DB-A0A8-27AB271BBDF5}" srcOrd="1" destOrd="0" presId="urn:microsoft.com/office/officeart/2005/8/layout/orgChart1"/>
    <dgm:cxn modelId="{7A601075-1DCE-4A95-B1B3-C73045DD431B}" type="presParOf" srcId="{3D65BAA0-5161-49DB-A0A8-27AB271BBDF5}" destId="{4060A182-3E89-480F-A8AE-A64DA87B0649}" srcOrd="0" destOrd="0" presId="urn:microsoft.com/office/officeart/2005/8/layout/orgChart1"/>
    <dgm:cxn modelId="{5BC64F6C-2486-429B-B494-C43CDAB48510}" type="presParOf" srcId="{4060A182-3E89-480F-A8AE-A64DA87B0649}" destId="{9E856F62-34BD-4C1B-B5A1-927A94F3EFBF}" srcOrd="0" destOrd="0" presId="urn:microsoft.com/office/officeart/2005/8/layout/orgChart1"/>
    <dgm:cxn modelId="{84AAD594-37CF-49F0-AD79-FC1791A0D7AC}" type="presParOf" srcId="{4060A182-3E89-480F-A8AE-A64DA87B0649}" destId="{D4C57D54-1CEE-4850-BBB8-6B38B5DE3283}" srcOrd="1" destOrd="0" presId="urn:microsoft.com/office/officeart/2005/8/layout/orgChart1"/>
    <dgm:cxn modelId="{29043E35-3DAA-47D6-9E54-CCFF592FA4A4}" type="presParOf" srcId="{3D65BAA0-5161-49DB-A0A8-27AB271BBDF5}" destId="{E54CC9B7-7B47-487C-9140-D5B9C974F72B}" srcOrd="1" destOrd="0" presId="urn:microsoft.com/office/officeart/2005/8/layout/orgChart1"/>
    <dgm:cxn modelId="{5FC6784B-7B5D-42A6-8B31-0731DAD7F376}" type="presParOf" srcId="{3D65BAA0-5161-49DB-A0A8-27AB271BBDF5}" destId="{7751C6D7-8AA8-444E-9E3A-7D60EC3890CD}" srcOrd="2" destOrd="0" presId="urn:microsoft.com/office/officeart/2005/8/layout/orgChart1"/>
    <dgm:cxn modelId="{1765FA11-16B5-45A4-A13B-DD7974B0D4DF}" type="presParOf" srcId="{0E81871D-8886-4C8F-8C3C-04E34BA8F742}" destId="{06DFEF22-14E3-4AC8-B896-1674CC7C47ED}" srcOrd="2" destOrd="0" presId="urn:microsoft.com/office/officeart/2005/8/layout/orgChart1"/>
    <dgm:cxn modelId="{F009A547-DDA4-401D-8FB0-0FD44B69187F}" type="presParOf" srcId="{0E81871D-8886-4C8F-8C3C-04E34BA8F742}" destId="{EF2BF0CF-0041-442E-BD14-15ADD0840977}" srcOrd="3" destOrd="0" presId="urn:microsoft.com/office/officeart/2005/8/layout/orgChart1"/>
    <dgm:cxn modelId="{EF90235D-21A0-40C4-A94B-D0BF8228DBCB}" type="presParOf" srcId="{EF2BF0CF-0041-442E-BD14-15ADD0840977}" destId="{5161E845-3D50-4D62-9CF6-85AC1727F686}" srcOrd="0" destOrd="0" presId="urn:microsoft.com/office/officeart/2005/8/layout/orgChart1"/>
    <dgm:cxn modelId="{5B65406F-F831-46E0-8BA3-F8F911E132AB}" type="presParOf" srcId="{5161E845-3D50-4D62-9CF6-85AC1727F686}" destId="{552B2292-3A87-4562-93E4-5EC28BEA50BF}" srcOrd="0" destOrd="0" presId="urn:microsoft.com/office/officeart/2005/8/layout/orgChart1"/>
    <dgm:cxn modelId="{0B41E78F-6E5D-4CEB-9261-3233EB4E8E06}" type="presParOf" srcId="{5161E845-3D50-4D62-9CF6-85AC1727F686}" destId="{3E28A236-8FAB-4253-8226-9C38C863E84E}" srcOrd="1" destOrd="0" presId="urn:microsoft.com/office/officeart/2005/8/layout/orgChart1"/>
    <dgm:cxn modelId="{2C7E5D3A-FC90-471F-B56D-FF2E698FA275}" type="presParOf" srcId="{EF2BF0CF-0041-442E-BD14-15ADD0840977}" destId="{2F78A656-7494-47D8-BD84-DEAC4812A9FA}" srcOrd="1" destOrd="0" presId="urn:microsoft.com/office/officeart/2005/8/layout/orgChart1"/>
    <dgm:cxn modelId="{57F4B1F7-4711-477B-B0ED-955315440E82}" type="presParOf" srcId="{EF2BF0CF-0041-442E-BD14-15ADD0840977}" destId="{0A71A46B-9211-430B-A95E-9F7F8D036926}" srcOrd="2" destOrd="0" presId="urn:microsoft.com/office/officeart/2005/8/layout/orgChart1"/>
    <dgm:cxn modelId="{9BDBEC1D-2562-467D-960A-AF0039F2501A}" type="presParOf" srcId="{E91DBDF5-5432-4AAB-B196-21B5BF7E8625}" destId="{1AFC3D2A-9889-49F2-897F-273DB62557AB}" srcOrd="2" destOrd="0" presId="urn:microsoft.com/office/officeart/2005/8/layout/orgChart1"/>
    <dgm:cxn modelId="{FC6CF706-035D-4F6C-A339-811E55ADD6E9}" type="presParOf" srcId="{387A8814-0041-4CB7-83B9-D73878F1A6C4}" destId="{B401832D-A51E-4DAC-AD9B-26F2ACEDBDB0}" srcOrd="2" destOrd="0" presId="urn:microsoft.com/office/officeart/2005/8/layout/orgChart1"/>
    <dgm:cxn modelId="{BD2B5D4E-6396-4CE7-B5E3-98DC886A24C3}" type="presParOf" srcId="{387A8814-0041-4CB7-83B9-D73878F1A6C4}" destId="{C4A03E59-919A-4435-85E6-1870393A58C7}" srcOrd="3" destOrd="0" presId="urn:microsoft.com/office/officeart/2005/8/layout/orgChart1"/>
    <dgm:cxn modelId="{F9929262-5484-4F8D-9779-F65AAA1BD0DC}" type="presParOf" srcId="{C4A03E59-919A-4435-85E6-1870393A58C7}" destId="{3E9BF3EC-25AB-492E-B00B-266A36E11E5B}" srcOrd="0" destOrd="0" presId="urn:microsoft.com/office/officeart/2005/8/layout/orgChart1"/>
    <dgm:cxn modelId="{0E24DC00-21DA-48A2-9DD0-3AF2E38D9E02}" type="presParOf" srcId="{3E9BF3EC-25AB-492E-B00B-266A36E11E5B}" destId="{CD7D04B2-46DF-4D83-8405-5C1039579629}" srcOrd="0" destOrd="0" presId="urn:microsoft.com/office/officeart/2005/8/layout/orgChart1"/>
    <dgm:cxn modelId="{D6407D49-5E4B-401C-A692-AF9251E000A5}" type="presParOf" srcId="{3E9BF3EC-25AB-492E-B00B-266A36E11E5B}" destId="{48B31FC6-2DF7-436C-90BE-661684C6D3A8}" srcOrd="1" destOrd="0" presId="urn:microsoft.com/office/officeart/2005/8/layout/orgChart1"/>
    <dgm:cxn modelId="{1B7944C9-5BA9-442D-A800-2ED0F4360839}" type="presParOf" srcId="{C4A03E59-919A-4435-85E6-1870393A58C7}" destId="{45B6511F-F757-4423-B8AC-D060EA06B7F5}" srcOrd="1" destOrd="0" presId="urn:microsoft.com/office/officeart/2005/8/layout/orgChart1"/>
    <dgm:cxn modelId="{D6EDBC2C-1210-4C00-87D1-A52FBCB24FCD}" type="presParOf" srcId="{45B6511F-F757-4423-B8AC-D060EA06B7F5}" destId="{60917A89-D5A2-4B86-BB8B-A142290E7E5C}" srcOrd="0" destOrd="0" presId="urn:microsoft.com/office/officeart/2005/8/layout/orgChart1"/>
    <dgm:cxn modelId="{C3364BE7-1F86-430D-9AA2-585E19A81310}" type="presParOf" srcId="{45B6511F-F757-4423-B8AC-D060EA06B7F5}" destId="{F914B34C-C305-4DEC-8C20-DECF5E7D98DE}" srcOrd="1" destOrd="0" presId="urn:microsoft.com/office/officeart/2005/8/layout/orgChart1"/>
    <dgm:cxn modelId="{B6AFF5A3-0FBE-4C90-9CAD-309A7EDEF3BF}" type="presParOf" srcId="{F914B34C-C305-4DEC-8C20-DECF5E7D98DE}" destId="{184D28AD-9871-4E7D-86D5-E7A2290A496D}" srcOrd="0" destOrd="0" presId="urn:microsoft.com/office/officeart/2005/8/layout/orgChart1"/>
    <dgm:cxn modelId="{277C24C5-5C06-4A1E-AECA-2F136573E001}" type="presParOf" srcId="{184D28AD-9871-4E7D-86D5-E7A2290A496D}" destId="{759D9052-E0CA-4D4C-A65C-04C315AF6DF2}" srcOrd="0" destOrd="0" presId="urn:microsoft.com/office/officeart/2005/8/layout/orgChart1"/>
    <dgm:cxn modelId="{7BDAA3F9-4776-41C8-A582-45283F091D65}" type="presParOf" srcId="{184D28AD-9871-4E7D-86D5-E7A2290A496D}" destId="{70FA387D-3AA7-42B4-B8BF-0C493C5B34B3}" srcOrd="1" destOrd="0" presId="urn:microsoft.com/office/officeart/2005/8/layout/orgChart1"/>
    <dgm:cxn modelId="{BBEE5973-76B7-49AF-805A-25ED5D20A9E7}" type="presParOf" srcId="{F914B34C-C305-4DEC-8C20-DECF5E7D98DE}" destId="{64F9EB97-E585-4EB0-9130-84D2913C3325}" srcOrd="1" destOrd="0" presId="urn:microsoft.com/office/officeart/2005/8/layout/orgChart1"/>
    <dgm:cxn modelId="{0F07E551-F1F1-43C3-9C47-AEEB85367C8D}" type="presParOf" srcId="{F914B34C-C305-4DEC-8C20-DECF5E7D98DE}" destId="{37399B1B-3904-4774-B247-3ADBCCED786A}" srcOrd="2" destOrd="0" presId="urn:microsoft.com/office/officeart/2005/8/layout/orgChart1"/>
    <dgm:cxn modelId="{FB5FD120-21FB-45C8-8DFC-3D7E6ECE0807}" type="presParOf" srcId="{45B6511F-F757-4423-B8AC-D060EA06B7F5}" destId="{1CF1C7A9-E8C5-4AC2-AEBA-4CA29C73BFAB}" srcOrd="2" destOrd="0" presId="urn:microsoft.com/office/officeart/2005/8/layout/orgChart1"/>
    <dgm:cxn modelId="{0764D1CC-93CF-429C-822F-C6FFD06F5926}" type="presParOf" srcId="{45B6511F-F757-4423-B8AC-D060EA06B7F5}" destId="{05DE3167-CFA0-4D05-B1E8-96D0FB8405DB}" srcOrd="3" destOrd="0" presId="urn:microsoft.com/office/officeart/2005/8/layout/orgChart1"/>
    <dgm:cxn modelId="{F0E0CED9-D20C-4F49-AA8A-42D78EACBA87}" type="presParOf" srcId="{05DE3167-CFA0-4D05-B1E8-96D0FB8405DB}" destId="{6BC063AD-B849-4BF9-8C23-E396239BE0CD}" srcOrd="0" destOrd="0" presId="urn:microsoft.com/office/officeart/2005/8/layout/orgChart1"/>
    <dgm:cxn modelId="{1A9BA114-0AC9-4B52-A98F-0FF5D83D8AFF}" type="presParOf" srcId="{6BC063AD-B849-4BF9-8C23-E396239BE0CD}" destId="{B90AF4A0-DB11-44CA-8322-C712B5244240}" srcOrd="0" destOrd="0" presId="urn:microsoft.com/office/officeart/2005/8/layout/orgChart1"/>
    <dgm:cxn modelId="{182B29EE-7F16-4933-ABFC-BF5B2892937D}" type="presParOf" srcId="{6BC063AD-B849-4BF9-8C23-E396239BE0CD}" destId="{CCB0F779-7662-4D65-B78D-4333E11FF447}" srcOrd="1" destOrd="0" presId="urn:microsoft.com/office/officeart/2005/8/layout/orgChart1"/>
    <dgm:cxn modelId="{C49C3640-E8AD-459A-97B2-B1A8DCA817F6}" type="presParOf" srcId="{05DE3167-CFA0-4D05-B1E8-96D0FB8405DB}" destId="{38418F4E-8149-4E61-818D-E8F992DD2C92}" srcOrd="1" destOrd="0" presId="urn:microsoft.com/office/officeart/2005/8/layout/orgChart1"/>
    <dgm:cxn modelId="{283F14DF-6D09-4E53-9621-A620D55CF3CA}" type="presParOf" srcId="{05DE3167-CFA0-4D05-B1E8-96D0FB8405DB}" destId="{72F11046-4BF5-4462-9E8D-6CE2CAC698E8}" srcOrd="2" destOrd="0" presId="urn:microsoft.com/office/officeart/2005/8/layout/orgChart1"/>
    <dgm:cxn modelId="{C3598E1F-C25F-4068-8998-F7EC67DC64CC}" type="presParOf" srcId="{C4A03E59-919A-4435-85E6-1870393A58C7}" destId="{D366DEB0-00DA-4A01-B926-352180400C4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F1C7A9-E8C5-4AC2-AEBA-4CA29C73BFAB}">
      <dsp:nvSpPr>
        <dsp:cNvPr id="0" name=""/>
        <dsp:cNvSpPr/>
      </dsp:nvSpPr>
      <dsp:spPr>
        <a:xfrm>
          <a:off x="5766341" y="3765934"/>
          <a:ext cx="91440" cy="935175"/>
        </a:xfrm>
        <a:custGeom>
          <a:avLst/>
          <a:gdLst/>
          <a:ahLst/>
          <a:cxnLst/>
          <a:rect l="0" t="0" r="0" b="0"/>
          <a:pathLst>
            <a:path>
              <a:moveTo>
                <a:pt x="52663" y="0"/>
              </a:moveTo>
              <a:lnTo>
                <a:pt x="52663" y="935175"/>
              </a:lnTo>
              <a:lnTo>
                <a:pt x="45720" y="93517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917A89-D5A2-4B86-BB8B-A142290E7E5C}">
      <dsp:nvSpPr>
        <dsp:cNvPr id="0" name=""/>
        <dsp:cNvSpPr/>
      </dsp:nvSpPr>
      <dsp:spPr>
        <a:xfrm>
          <a:off x="5819005" y="3765934"/>
          <a:ext cx="100228" cy="9351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35175"/>
              </a:lnTo>
              <a:lnTo>
                <a:pt x="100228" y="93517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01832D-A51E-4DAC-AD9B-26F2ACEDBDB0}">
      <dsp:nvSpPr>
        <dsp:cNvPr id="0" name=""/>
        <dsp:cNvSpPr/>
      </dsp:nvSpPr>
      <dsp:spPr>
        <a:xfrm>
          <a:off x="3960440" y="1218144"/>
          <a:ext cx="932754" cy="20848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84884"/>
              </a:lnTo>
              <a:lnTo>
                <a:pt x="932754" y="208488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DFEF22-14E3-4AC8-B896-1674CC7C47ED}">
      <dsp:nvSpPr>
        <dsp:cNvPr id="0" name=""/>
        <dsp:cNvSpPr/>
      </dsp:nvSpPr>
      <dsp:spPr>
        <a:xfrm>
          <a:off x="1942039" y="3765934"/>
          <a:ext cx="91440" cy="935175"/>
        </a:xfrm>
        <a:custGeom>
          <a:avLst/>
          <a:gdLst/>
          <a:ahLst/>
          <a:cxnLst/>
          <a:rect l="0" t="0" r="0" b="0"/>
          <a:pathLst>
            <a:path>
              <a:moveTo>
                <a:pt x="52663" y="0"/>
              </a:moveTo>
              <a:lnTo>
                <a:pt x="52663" y="935175"/>
              </a:lnTo>
              <a:lnTo>
                <a:pt x="45720" y="93517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C14F0F-4EEA-45E8-82B4-20629124F5EA}">
      <dsp:nvSpPr>
        <dsp:cNvPr id="0" name=""/>
        <dsp:cNvSpPr/>
      </dsp:nvSpPr>
      <dsp:spPr>
        <a:xfrm>
          <a:off x="1994702" y="3765934"/>
          <a:ext cx="100228" cy="9351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35175"/>
              </a:lnTo>
              <a:lnTo>
                <a:pt x="100228" y="93517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B0AC67-2A4D-48DD-B611-A3C34F0A867C}">
      <dsp:nvSpPr>
        <dsp:cNvPr id="0" name=""/>
        <dsp:cNvSpPr/>
      </dsp:nvSpPr>
      <dsp:spPr>
        <a:xfrm>
          <a:off x="2920513" y="1218144"/>
          <a:ext cx="1039926" cy="2084884"/>
        </a:xfrm>
        <a:custGeom>
          <a:avLst/>
          <a:gdLst/>
          <a:ahLst/>
          <a:cxnLst/>
          <a:rect l="0" t="0" r="0" b="0"/>
          <a:pathLst>
            <a:path>
              <a:moveTo>
                <a:pt x="1039926" y="0"/>
              </a:moveTo>
              <a:lnTo>
                <a:pt x="1039926" y="2084884"/>
              </a:lnTo>
              <a:lnTo>
                <a:pt x="0" y="208488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46EC66-9508-4355-B566-0D31387A0121}">
      <dsp:nvSpPr>
        <dsp:cNvPr id="0" name=""/>
        <dsp:cNvSpPr/>
      </dsp:nvSpPr>
      <dsp:spPr>
        <a:xfrm>
          <a:off x="746941" y="0"/>
          <a:ext cx="6426997" cy="12181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000" b="1" kern="1200" dirty="0">
            <a:solidFill>
              <a:schemeClr val="tx1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000" b="1" kern="1200" dirty="0">
            <a:solidFill>
              <a:schemeClr val="tx1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000" b="1" kern="1200" dirty="0">
            <a:solidFill>
              <a:schemeClr val="tx1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>
              <a:solidFill>
                <a:schemeClr val="tx1"/>
              </a:solidFill>
            </a:rPr>
            <a:t>SEKTOR ZA TEMELJENJE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kern="1200" dirty="0">
              <a:solidFill>
                <a:schemeClr val="tx1"/>
              </a:solidFill>
            </a:rPr>
            <a:t>VODITELJ: </a:t>
          </a:r>
          <a:r>
            <a:rPr lang="en-GB" sz="2000" b="1" kern="1200" dirty="0" err="1">
              <a:solidFill>
                <a:schemeClr val="tx1"/>
              </a:solidFill>
            </a:rPr>
            <a:t>mr</a:t>
          </a:r>
          <a:r>
            <a:rPr lang="en-GB" sz="2000" b="1" kern="1200" dirty="0">
              <a:solidFill>
                <a:schemeClr val="tx1"/>
              </a:solidFill>
            </a:rPr>
            <a:t>. KREŠIMIR HORVAT, </a:t>
          </a:r>
          <a:r>
            <a:rPr lang="en-GB" sz="2000" b="1" kern="1200" dirty="0" err="1">
              <a:solidFill>
                <a:schemeClr val="tx1"/>
              </a:solidFill>
            </a:rPr>
            <a:t>dil.ing.građ</a:t>
          </a:r>
          <a:r>
            <a:rPr lang="en-GB" sz="2000" b="1" kern="1200" dirty="0">
              <a:solidFill>
                <a:schemeClr val="tx1"/>
              </a:solidFill>
            </a:rPr>
            <a:t>.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>
              <a:solidFill>
                <a:schemeClr val="tx1"/>
              </a:solidFill>
            </a:rPr>
            <a:t>.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000" kern="1200" dirty="0">
            <a:solidFill>
              <a:schemeClr val="tx1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000" kern="1200" dirty="0">
            <a:solidFill>
              <a:schemeClr val="tx1"/>
            </a:solidFill>
          </a:endParaRPr>
        </a:p>
      </dsp:txBody>
      <dsp:txXfrm>
        <a:off x="746941" y="0"/>
        <a:ext cx="6426997" cy="1218144"/>
      </dsp:txXfrm>
    </dsp:sp>
    <dsp:sp modelId="{B7C201D4-C796-4E10-9728-48A421CC21D4}">
      <dsp:nvSpPr>
        <dsp:cNvPr id="0" name=""/>
        <dsp:cNvSpPr/>
      </dsp:nvSpPr>
      <dsp:spPr>
        <a:xfrm>
          <a:off x="1068891" y="2840124"/>
          <a:ext cx="1851621" cy="9258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/>
            <a:t>1. </a:t>
          </a:r>
          <a:r>
            <a:rPr lang="en-GB" sz="1400" kern="1200" dirty="0" err="1"/>
            <a:t>Odjel</a:t>
          </a:r>
          <a:endParaRPr lang="en-GB" sz="1400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err="1"/>
            <a:t>mr</a:t>
          </a:r>
          <a:r>
            <a:rPr lang="en-GB" sz="1400" kern="1200" dirty="0"/>
            <a:t>. Ivan </a:t>
          </a:r>
          <a:r>
            <a:rPr lang="en-GB" sz="1400" kern="1200" dirty="0" err="1"/>
            <a:t>Muhovec</a:t>
          </a:r>
          <a:r>
            <a:rPr lang="en-GB" sz="1400" kern="1200" dirty="0"/>
            <a:t>, </a:t>
          </a:r>
          <a:r>
            <a:rPr lang="en-GB" sz="1400" kern="1200" dirty="0" err="1"/>
            <a:t>dipl.ing.građ</a:t>
          </a:r>
          <a:r>
            <a:rPr lang="en-GB" sz="1400" kern="1200" dirty="0"/>
            <a:t>.</a:t>
          </a:r>
        </a:p>
      </dsp:txBody>
      <dsp:txXfrm>
        <a:off x="1068891" y="2840124"/>
        <a:ext cx="1851621" cy="925810"/>
      </dsp:txXfrm>
    </dsp:sp>
    <dsp:sp modelId="{9E856F62-34BD-4C1B-B5A1-927A94F3EFBF}">
      <dsp:nvSpPr>
        <dsp:cNvPr id="0" name=""/>
        <dsp:cNvSpPr/>
      </dsp:nvSpPr>
      <dsp:spPr>
        <a:xfrm>
          <a:off x="2094931" y="4238205"/>
          <a:ext cx="1851621" cy="9258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err="1"/>
            <a:t>Grupa</a:t>
          </a:r>
          <a:r>
            <a:rPr lang="en-GB" sz="1400" kern="1200" dirty="0"/>
            <a:t> 2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/>
            <a:t>Milan </a:t>
          </a:r>
          <a:r>
            <a:rPr lang="en-GB" sz="1400" kern="1200" dirty="0" err="1"/>
            <a:t>Štajduhar</a:t>
          </a:r>
          <a:endParaRPr lang="en-GB" sz="1400" kern="1200" dirty="0"/>
        </a:p>
      </dsp:txBody>
      <dsp:txXfrm>
        <a:off x="2094931" y="4238205"/>
        <a:ext cx="1851621" cy="925810"/>
      </dsp:txXfrm>
    </dsp:sp>
    <dsp:sp modelId="{552B2292-3A87-4562-93E4-5EC28BEA50BF}">
      <dsp:nvSpPr>
        <dsp:cNvPr id="0" name=""/>
        <dsp:cNvSpPr/>
      </dsp:nvSpPr>
      <dsp:spPr>
        <a:xfrm>
          <a:off x="136137" y="4238205"/>
          <a:ext cx="1851621" cy="9258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err="1"/>
            <a:t>Grupa</a:t>
          </a:r>
          <a:r>
            <a:rPr lang="en-GB" sz="1400" kern="1200" dirty="0"/>
            <a:t> 1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err="1"/>
            <a:t>mr</a:t>
          </a:r>
          <a:r>
            <a:rPr lang="en-GB" sz="1400" kern="1200" dirty="0"/>
            <a:t>. </a:t>
          </a:r>
          <a:r>
            <a:rPr lang="en-GB" sz="1400" kern="1200" dirty="0" err="1"/>
            <a:t>Damir</a:t>
          </a:r>
          <a:r>
            <a:rPr lang="en-GB" sz="1400" kern="1200" dirty="0"/>
            <a:t> </a:t>
          </a:r>
          <a:r>
            <a:rPr lang="en-GB" sz="1400" kern="1200" dirty="0" err="1"/>
            <a:t>Čoriko</a:t>
          </a:r>
          <a:r>
            <a:rPr lang="en-GB" sz="1400" kern="1200" dirty="0"/>
            <a:t>, </a:t>
          </a:r>
          <a:r>
            <a:rPr lang="en-GB" sz="1400" kern="1200" dirty="0" err="1"/>
            <a:t>dipl.ing.građ</a:t>
          </a:r>
          <a:r>
            <a:rPr lang="en-GB" sz="1400" kern="1200" dirty="0"/>
            <a:t>.</a:t>
          </a:r>
        </a:p>
      </dsp:txBody>
      <dsp:txXfrm>
        <a:off x="136137" y="4238205"/>
        <a:ext cx="1851621" cy="925810"/>
      </dsp:txXfrm>
    </dsp:sp>
    <dsp:sp modelId="{CD7D04B2-46DF-4D83-8405-5C1039579629}">
      <dsp:nvSpPr>
        <dsp:cNvPr id="0" name=""/>
        <dsp:cNvSpPr/>
      </dsp:nvSpPr>
      <dsp:spPr>
        <a:xfrm>
          <a:off x="4893194" y="2840124"/>
          <a:ext cx="1851621" cy="9258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/>
            <a:t>2. </a:t>
          </a:r>
          <a:r>
            <a:rPr lang="en-GB" sz="1400" kern="1200" dirty="0" err="1"/>
            <a:t>Odjel</a:t>
          </a:r>
          <a:endParaRPr lang="en-GB" sz="1400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err="1"/>
            <a:t>Dr.</a:t>
          </a:r>
          <a:r>
            <a:rPr lang="en-GB" sz="1400" kern="1200" dirty="0"/>
            <a:t> </a:t>
          </a:r>
          <a:r>
            <a:rPr lang="en-GB" sz="1400" kern="1200" dirty="0" err="1"/>
            <a:t>Nenad</a:t>
          </a:r>
          <a:r>
            <a:rPr lang="en-GB" sz="1400" kern="1200" dirty="0"/>
            <a:t> </a:t>
          </a:r>
          <a:r>
            <a:rPr lang="en-GB" sz="1400" kern="1200" dirty="0" err="1"/>
            <a:t>Grubić</a:t>
          </a:r>
          <a:r>
            <a:rPr lang="en-GB" sz="1400" kern="1200" dirty="0"/>
            <a:t>, </a:t>
          </a:r>
          <a:r>
            <a:rPr lang="en-GB" sz="1400" kern="1200" dirty="0" err="1"/>
            <a:t>dipl.ing.građ</a:t>
          </a:r>
          <a:r>
            <a:rPr lang="en-GB" sz="1400" kern="1200" dirty="0"/>
            <a:t>.</a:t>
          </a:r>
        </a:p>
      </dsp:txBody>
      <dsp:txXfrm>
        <a:off x="4893194" y="2840124"/>
        <a:ext cx="1851621" cy="925810"/>
      </dsp:txXfrm>
    </dsp:sp>
    <dsp:sp modelId="{759D9052-E0CA-4D4C-A65C-04C315AF6DF2}">
      <dsp:nvSpPr>
        <dsp:cNvPr id="0" name=""/>
        <dsp:cNvSpPr/>
      </dsp:nvSpPr>
      <dsp:spPr>
        <a:xfrm>
          <a:off x="5919233" y="4238205"/>
          <a:ext cx="1851621" cy="9258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err="1"/>
            <a:t>Grupa</a:t>
          </a:r>
          <a:r>
            <a:rPr lang="en-GB" sz="1400" kern="1200" dirty="0"/>
            <a:t> 2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err="1"/>
            <a:t>Mladen</a:t>
          </a:r>
          <a:r>
            <a:rPr lang="en-GB" sz="1400" kern="1200" dirty="0"/>
            <a:t> </a:t>
          </a:r>
          <a:r>
            <a:rPr lang="en-GB" sz="1400" kern="1200" dirty="0" err="1"/>
            <a:t>Bešenić</a:t>
          </a:r>
          <a:r>
            <a:rPr lang="en-GB" sz="1400" kern="1200" dirty="0"/>
            <a:t>, </a:t>
          </a:r>
          <a:r>
            <a:rPr lang="en-GB" sz="1400" kern="1200" dirty="0" err="1"/>
            <a:t>dipl.ing.građ</a:t>
          </a:r>
          <a:r>
            <a:rPr lang="en-GB" sz="1400" kern="1200" dirty="0"/>
            <a:t>.</a:t>
          </a:r>
        </a:p>
      </dsp:txBody>
      <dsp:txXfrm>
        <a:off x="5919233" y="4238205"/>
        <a:ext cx="1851621" cy="925810"/>
      </dsp:txXfrm>
    </dsp:sp>
    <dsp:sp modelId="{B90AF4A0-DB11-44CA-8322-C712B5244240}">
      <dsp:nvSpPr>
        <dsp:cNvPr id="0" name=""/>
        <dsp:cNvSpPr/>
      </dsp:nvSpPr>
      <dsp:spPr>
        <a:xfrm>
          <a:off x="3960439" y="4238205"/>
          <a:ext cx="1851621" cy="9258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err="1"/>
            <a:t>Grupa</a:t>
          </a:r>
          <a:r>
            <a:rPr lang="en-GB" sz="1400" kern="1200" dirty="0"/>
            <a:t> 1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/>
            <a:t>Mr. </a:t>
          </a:r>
          <a:r>
            <a:rPr lang="en-GB" sz="1400" kern="1200" dirty="0" err="1"/>
            <a:t>Božica</a:t>
          </a:r>
          <a:r>
            <a:rPr lang="en-GB" sz="1400" kern="1200" dirty="0"/>
            <a:t> </a:t>
          </a:r>
          <a:r>
            <a:rPr lang="en-GB" sz="1400" kern="1200" dirty="0" err="1"/>
            <a:t>Marić</a:t>
          </a:r>
          <a:r>
            <a:rPr lang="en-GB" sz="1400" kern="1200" dirty="0"/>
            <a:t>, </a:t>
          </a:r>
          <a:r>
            <a:rPr lang="en-GB" sz="1400" kern="1200" dirty="0" err="1"/>
            <a:t>dipl.ing.građ</a:t>
          </a:r>
          <a:r>
            <a:rPr lang="en-GB" sz="1400" kern="1200" dirty="0"/>
            <a:t>.</a:t>
          </a:r>
        </a:p>
      </dsp:txBody>
      <dsp:txXfrm>
        <a:off x="3960439" y="4238205"/>
        <a:ext cx="1851621" cy="9258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538BE3-70D5-402D-96FF-5040B0EC62B5}" type="datetimeFigureOut">
              <a:rPr lang="en-US" smtClean="0"/>
              <a:t>5/20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BFEBF6-A3AF-40D8-887B-413521B8946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6617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4D0F128A-26CA-409E-BE68-C66F9C730CEF}" type="datetimeFigureOut">
              <a:rPr lang="en-US" smtClean="0"/>
              <a:pPr/>
              <a:t>5/20/2019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A34D048-4F22-4904-8133-7CCB166AA2B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3529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hr-HR" altLang="sr-Latn-RS"/>
          </a:p>
        </p:txBody>
      </p:sp>
      <p:sp>
        <p:nvSpPr>
          <p:cNvPr id="614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196212A0-EF72-4E55-94C9-A86CBE6E2D52}" type="slidenum">
              <a:rPr lang="hr-HR" altLang="sr-Latn-RS"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1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1180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računavanje slijeganja tla pomoću elektroničkih računala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. Nonveiller, S. Polić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agreb, 1969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BU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račun slijeganja na osnovi edometarskih pokusa prema modelu JANBU-a,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a horizontalno uslojeno tlo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. Grubić, B. Škoro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lsinki, 1983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r-HR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i za proračun stabilnosti pokosa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SHOP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čun stabilnosti kosina pomoću elektroničkog računala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. Nonveiller, S. Polić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agreb, 1968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SHOP je kompjuterski program za analizu stabilnosti padina (kosina). Analiza koristi Bishop-ovu simplificiranu metodu of slices (Bishop, 1955)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STAB4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 za analizu stabilnosti kosina prema SPENCERU iz 1967 g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r-HR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r-HR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 za proračun stacionarnog toka vode u tlu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EDAR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</a:t>
            </a: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ite </a:t>
            </a:r>
            <a:r>
              <a:rPr lang="hr-HR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ment analysis of </a:t>
            </a:r>
            <a:r>
              <a:rPr lang="hr-HR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R</a:t>
            </a: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y flow problems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.C. TYLOR and C.B. BROWN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iversity of California – Berkeley, California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67 g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34D048-4F22-4904-8133-7CCB166AA2B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95131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računavanje slijeganja tla pomoću elektroničkih računala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. Nonveiller, S. Polić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agreb, 1969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BU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račun slijeganja na osnovi edometarskih pokusa prema modelu JANBU-a,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a horizontalno uslojeno tlo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. Grubić, B. Škoro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lsinki, 1983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r-HR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i za proračun stabilnosti pokosa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SHOP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čun stabilnosti kosina pomoću elektroničkog računala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. Nonveiller, S. Polić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agreb, 1968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SHOP je kompjuterski program za analizu stabilnosti padina (kosina). Analiza koristi Bishop-ovu simplificiranu metodu of slices (Bishop, 1955)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STAB4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 za analizu stabilnosti kosina prema SPENCERU iz 1967 g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r-HR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r-HR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 za proračun stacionarnog toka vode u tlu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EDAR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</a:t>
            </a: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ite </a:t>
            </a:r>
            <a:r>
              <a:rPr lang="hr-HR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ment analysis of </a:t>
            </a:r>
            <a:r>
              <a:rPr lang="hr-HR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R</a:t>
            </a: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y flow problems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.C. TYLOR and C.B. BROWN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iversity of California – Berkeley, California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67 g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34D048-4F22-4904-8133-7CCB166AA2B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9653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r-HR" altLang="sr-Latn-RS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CD7907-D77C-4B4B-A75C-403F27DA2AC0}" type="slidenum">
              <a:rPr lang="hr-HR" altLang="sr-Latn-RS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11</a:t>
            </a:fld>
            <a:endParaRPr lang="hr-HR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9471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računavanje slijeganja tla pomoću elektroničkih računala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. Nonveiller, S. Polić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agreb, 1969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BU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račun slijeganja na osnovi edometarskih pokusa prema modelu JANBU-a,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a horizontalno uslojeno tlo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. Grubić, B. Škoro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lsinki, 1983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r-HR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i za proračun stabilnosti pokosa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SHOP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čun stabilnosti kosina pomoću elektroničkog računala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. Nonveiller, S. Polić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agreb, 1968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SHOP je kompjuterski program za analizu stabilnosti padina (kosina). Analiza koristi Bishop-ovu simplificiranu metodu of slices (Bishop, 1955)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STAB4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 za analizu stabilnosti kosina prema SPENCERU iz 1967 g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r-HR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r-HR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 za proračun stacionarnog toka vode u tlu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EDAR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</a:t>
            </a: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ite </a:t>
            </a:r>
            <a:r>
              <a:rPr lang="hr-HR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ment analysis of </a:t>
            </a:r>
            <a:r>
              <a:rPr lang="hr-HR" b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R</a:t>
            </a: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y flow problems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.C. TYLOR and C.B. BROWN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iversity of California – Berkeley, California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67 g.</a:t>
            </a:r>
            <a:endParaRPr lang="en-GB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34D048-4F22-4904-8133-7CCB166AA2B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94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5789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0" orient="horz" pos="2160" userDrawn="1">
          <p15:clr>
            <a:srgbClr val="FBAE40"/>
          </p15:clr>
        </p15:guide>
        <p15:guide id="1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1600" y="1569600"/>
            <a:ext cx="8560062" cy="4572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5C2C-E9DE-45BD-A857-55AECF0C5229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308525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1600" y="1569600"/>
            <a:ext cx="8560062" cy="4572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5C2C-E9DE-45BD-A857-55AECF0C522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5744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/3 - red subtitle under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D5F1A-A1A0-46DE-AB45-63DA9AA4609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121400" y="1475259"/>
            <a:ext cx="2736850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91600" y="1475259"/>
            <a:ext cx="5654675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298518" y="2298700"/>
            <a:ext cx="5654675" cy="2591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467253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8E848-4BA0-46DA-B7E3-A8DA2E7F24E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91600" y="1575950"/>
            <a:ext cx="4192588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60900" y="1572775"/>
            <a:ext cx="4197350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38395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2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4192488" cy="4563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310B4-A1C2-4B60-B54E-E4BD04F93B7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59313" y="1627201"/>
            <a:ext cx="4187825" cy="220502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659313" y="3919789"/>
            <a:ext cx="4187825" cy="22206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17196523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7"/>
            <a:ext cx="5641875" cy="4556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6EAA-2E8F-4E61-AFDE-41C2065B938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21400" y="1627200"/>
            <a:ext cx="2738438" cy="22256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21400" y="3922713"/>
            <a:ext cx="2738438" cy="2225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53887710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1" y="1575715"/>
            <a:ext cx="5648824" cy="455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F1FA-ABD1-40D0-8304-86742E155357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6121400" y="2298700"/>
            <a:ext cx="2747963" cy="3070226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aseline="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698285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48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2C38B2-42F4-449C-91A0-4D87B86BED1D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3205163" y="1619250"/>
            <a:ext cx="5662052" cy="45148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225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106293893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E9BE2-A349-480E-9FA8-1B0465CE62E4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3209124" y="2298700"/>
            <a:ext cx="5649126" cy="35065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3203575" y="1627694"/>
            <a:ext cx="5654675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69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800219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- 2 objects -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4077073"/>
            <a:ext cx="8559700" cy="20633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20202-3F96-4633-97D4-EB6488CD0176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6121400" y="2298700"/>
            <a:ext cx="2736850" cy="1532351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291600" y="1627200"/>
            <a:ext cx="5651500" cy="22114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181498524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86975"/>
            <a:ext cx="4192488" cy="2245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F93E9-6D02-4271-9DE5-4C5F23ED8FD8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3919540"/>
            <a:ext cx="4187825" cy="220662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56982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/3 - red subtitle under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D5F1A-A1A0-46DE-AB45-63DA9AA46093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121400" y="1475259"/>
            <a:ext cx="2736850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91600" y="1475259"/>
            <a:ext cx="5654675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298518" y="2298700"/>
            <a:ext cx="5654675" cy="2591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602467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4 - 1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88925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664138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5"/>
          </p:nvPr>
        </p:nvSpPr>
        <p:spPr>
          <a:xfrm>
            <a:off x="288925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6"/>
          </p:nvPr>
        </p:nvSpPr>
        <p:spPr>
          <a:xfrm>
            <a:off x="4664138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456005"/>
      </p:ext>
    </p:extLst>
  </p:cSld>
  <p:clrMapOvr>
    <a:masterClrMapping/>
  </p:clrMapOvr>
  <p:hf hdr="0" ftr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all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842FC-4472-4057-BF49-491306FF850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4605338"/>
            <a:ext cx="4187825" cy="152082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4"/>
          </p:nvPr>
        </p:nvSpPr>
        <p:spPr>
          <a:xfrm>
            <a:off x="290068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288521" y="162451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292100" y="2298700"/>
            <a:ext cx="4195763" cy="15287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600"/>
            </a:lvl1pPr>
            <a:lvl2pPr marL="361950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2pPr>
            <a:lvl3pPr marL="534988" indent="-173038">
              <a:lnSpc>
                <a:spcPct val="100000"/>
              </a:lnSpc>
              <a:spcBef>
                <a:spcPts val="600"/>
              </a:spcBef>
              <a:spcAft>
                <a:spcPts val="567"/>
              </a:spcAft>
              <a:buFont typeface="Wingdings" panose="05000000000000000000" pitchFamily="2" charset="2"/>
              <a:buChar char="§"/>
              <a:defRPr/>
            </a:lvl3pPr>
            <a:lvl4pPr marL="715963" indent="-180975">
              <a:buFont typeface="Wingdings" panose="05000000000000000000" pitchFamily="2" charset="2"/>
              <a:buChar char="§"/>
              <a:defRPr/>
            </a:lvl4pPr>
            <a:lvl5pPr marL="896938" indent="-180975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1110169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 1/1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E93F2-6651-4DAF-8D5B-5B67F320C31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2298701"/>
            <a:ext cx="8560062" cy="350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None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4950" y="5840561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4519"/>
            <a:ext cx="8568408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334910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-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04964645"/>
      </p:ext>
    </p:extLst>
  </p:cSld>
  <p:clrMapOvr>
    <a:masterClrMapping/>
  </p:clrMapOvr>
  <p:hf hdr="0" ftr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ictures 8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622425"/>
            <a:ext cx="1998000" cy="18538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0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86306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41" hasCustomPrompt="1"/>
          </p:nvPr>
        </p:nvSpPr>
        <p:spPr>
          <a:xfrm>
            <a:off x="290390" y="3919761"/>
            <a:ext cx="1998000" cy="18689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4" name="Bildplatzhalter 9"/>
          <p:cNvSpPr>
            <a:spLocks noGrp="1"/>
          </p:cNvSpPr>
          <p:nvPr>
            <p:ph type="pic" sz="quarter" idx="42" hasCustomPrompt="1"/>
          </p:nvPr>
        </p:nvSpPr>
        <p:spPr>
          <a:xfrm>
            <a:off x="6858553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4669268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2486306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9390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platzhalter 12"/>
          <p:cNvSpPr>
            <a:spLocks noGrp="1"/>
          </p:cNvSpPr>
          <p:nvPr>
            <p:ph type="body" sz="quarter" idx="45"/>
          </p:nvPr>
        </p:nvSpPr>
        <p:spPr>
          <a:xfrm>
            <a:off x="2498484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46"/>
          </p:nvPr>
        </p:nvSpPr>
        <p:spPr>
          <a:xfrm>
            <a:off x="4674908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47"/>
          </p:nvPr>
        </p:nvSpPr>
        <p:spPr>
          <a:xfrm>
            <a:off x="6881559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48"/>
          </p:nvPr>
        </p:nvSpPr>
        <p:spPr>
          <a:xfrm>
            <a:off x="299390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49"/>
          </p:nvPr>
        </p:nvSpPr>
        <p:spPr>
          <a:xfrm>
            <a:off x="2498484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50"/>
          </p:nvPr>
        </p:nvSpPr>
        <p:spPr>
          <a:xfrm>
            <a:off x="4674908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51"/>
          </p:nvPr>
        </p:nvSpPr>
        <p:spPr>
          <a:xfrm>
            <a:off x="6881559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6909564"/>
      </p:ext>
    </p:extLst>
  </p:cSld>
  <p:clrMapOvr>
    <a:masterClrMapping/>
  </p:clrMapOvr>
  <p:hf hdr="0" ftr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s 2 - 1/2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22F0-A202-4EA4-BC9B-1A86C5B7069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91600" y="2292853"/>
            <a:ext cx="4189913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7" hasCustomPrompt="1"/>
          </p:nvPr>
        </p:nvSpPr>
        <p:spPr>
          <a:xfrm>
            <a:off x="4664394" y="2292853"/>
            <a:ext cx="4186236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34490"/>
            <a:ext cx="0" cy="416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cxnSp>
        <p:nvCxnSpPr>
          <p:cNvPr id="13" name="Gerader Verbinder 6"/>
          <p:cNvCxnSpPr/>
          <p:nvPr/>
        </p:nvCxnSpPr>
        <p:spPr>
          <a:xfrm>
            <a:off x="4572000" y="1622138"/>
            <a:ext cx="0" cy="4499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263136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ress clippings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9" hasCustomPrompt="1"/>
          </p:nvPr>
        </p:nvSpPr>
        <p:spPr>
          <a:xfrm>
            <a:off x="291600" y="2289908"/>
            <a:ext cx="4194969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BBC96-FF81-41A2-A288-3AD332C2BB50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15281"/>
            <a:ext cx="0" cy="4192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11"/>
          <p:cNvSpPr>
            <a:spLocks noGrp="1"/>
          </p:cNvSpPr>
          <p:nvPr>
            <p:ph type="pic" sz="quarter" idx="20" hasCustomPrompt="1"/>
          </p:nvPr>
        </p:nvSpPr>
        <p:spPr>
          <a:xfrm>
            <a:off x="4660900" y="2289908"/>
            <a:ext cx="4202113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5851097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47659430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rganisational char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204046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6121400" y="3493638"/>
            <a:ext cx="2736000" cy="977000"/>
          </a:xfrm>
          <a:noFill/>
          <a:ln>
            <a:solidFill>
              <a:schemeClr val="accent4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310AA-847B-4063-A899-3FA7213427A7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842418"/>
            <a:ext cx="2736000" cy="655879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2842418"/>
            <a:ext cx="2736000" cy="65587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842418"/>
            <a:ext cx="2736000" cy="655879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7" name="Freihandform 16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9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ihandform 17"/>
          <p:cNvSpPr/>
          <p:nvPr userDrawn="1"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153013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text 4 - 1/4 grey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84950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03914" y="234656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03914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052F0-A65C-44FC-B982-E3D1FFB99B1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403913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Rechteck 22"/>
          <p:cNvSpPr/>
          <p:nvPr/>
        </p:nvSpPr>
        <p:spPr>
          <a:xfrm>
            <a:off x="4667169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786133" y="234656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786133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4786132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Rechteck 33"/>
          <p:cNvSpPr/>
          <p:nvPr/>
        </p:nvSpPr>
        <p:spPr>
          <a:xfrm>
            <a:off x="284950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3914" y="455492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3914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403913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Rechteck 37"/>
          <p:cNvSpPr/>
          <p:nvPr/>
        </p:nvSpPr>
        <p:spPr>
          <a:xfrm>
            <a:off x="4667169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786133" y="455492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786133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786132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610323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288925" y="1619250"/>
            <a:ext cx="8569325" cy="45212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C11DA-F605-427D-918D-A0A0517F685E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91038" y="1620043"/>
            <a:ext cx="1809154" cy="1168028"/>
          </a:xfrm>
          <a:prstGeom prst="callout1">
            <a:avLst>
              <a:gd name="adj1" fmla="val -276"/>
              <a:gd name="adj2" fmla="val 331"/>
              <a:gd name="adj3" fmla="val 167493"/>
              <a:gd name="adj4" fmla="val 176"/>
            </a:avLst>
          </a:prstGeom>
          <a:ln w="6350">
            <a:solidFill>
              <a:schemeClr val="accent1"/>
            </a:solidFill>
          </a:ln>
        </p:spPr>
        <p:txBody>
          <a:bodyPr lIns="72000" tIns="0" rIns="7200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2pPr>
            <a:lvl3pPr marL="180975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400"/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9023013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8E848-4BA0-46DA-B7E3-A8DA2E7F24E3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91600" y="1575950"/>
            <a:ext cx="4192588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60900" y="1572775"/>
            <a:ext cx="4197350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844957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2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5C694-0345-48C8-93B8-B4E4D0384586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feil nach rechts 6"/>
          <p:cNvSpPr/>
          <p:nvPr/>
        </p:nvSpPr>
        <p:spPr>
          <a:xfrm>
            <a:off x="288925" y="3393469"/>
            <a:ext cx="8569325" cy="635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96863" y="1612900"/>
            <a:ext cx="2579687" cy="1349375"/>
          </a:xfrm>
          <a:ln>
            <a:solidFill>
              <a:schemeClr val="accent1"/>
            </a:solidFill>
          </a:ln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95288" y="3573463"/>
            <a:ext cx="8083550" cy="26511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32653761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2 - text in 8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96AD8-12A9-485B-AC84-50DA55C4164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91600" y="3409749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2543475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91600" y="557543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91600" y="5142297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291600" y="4709160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/>
          </p:nvPr>
        </p:nvSpPr>
        <p:spPr>
          <a:xfrm>
            <a:off x="291600" y="427602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3842886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91600" y="2976612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2369503" y="3409749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2369503" y="2543475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2369503" y="557543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369503" y="5142297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25"/>
          </p:nvPr>
        </p:nvSpPr>
        <p:spPr>
          <a:xfrm>
            <a:off x="2369503" y="4709160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26"/>
          </p:nvPr>
        </p:nvSpPr>
        <p:spPr>
          <a:xfrm>
            <a:off x="2369503" y="427602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369503" y="3842886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369503" y="2976612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  <a:p>
            <a:pPr lvl="0"/>
            <a:endParaRPr lang="en-US" dirty="0"/>
          </a:p>
        </p:txBody>
      </p:sp>
      <p:pic>
        <p:nvPicPr>
          <p:cNvPr id="29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1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36329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bracket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ihandform 30"/>
          <p:cNvSpPr/>
          <p:nvPr/>
        </p:nvSpPr>
        <p:spPr>
          <a:xfrm>
            <a:off x="276225" y="3825753"/>
            <a:ext cx="8582025" cy="266700"/>
          </a:xfrm>
          <a:custGeom>
            <a:avLst/>
            <a:gdLst>
              <a:gd name="connsiteX0" fmla="*/ 0 w 8582025"/>
              <a:gd name="connsiteY0" fmla="*/ 0 h 266700"/>
              <a:gd name="connsiteX1" fmla="*/ 209550 w 8582025"/>
              <a:gd name="connsiteY1" fmla="*/ 266700 h 266700"/>
              <a:gd name="connsiteX2" fmla="*/ 8391525 w 8582025"/>
              <a:gd name="connsiteY2" fmla="*/ 266700 h 266700"/>
              <a:gd name="connsiteX3" fmla="*/ 8582025 w 8582025"/>
              <a:gd name="connsiteY3" fmla="*/ 9525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82025" h="266700">
                <a:moveTo>
                  <a:pt x="0" y="0"/>
                </a:moveTo>
                <a:lnTo>
                  <a:pt x="209550" y="266700"/>
                </a:lnTo>
                <a:lnTo>
                  <a:pt x="8391525" y="266700"/>
                </a:lnTo>
                <a:lnTo>
                  <a:pt x="8582025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88264-8DCA-42F2-B48F-891C7644940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1624184"/>
            <a:ext cx="2736000" cy="343022"/>
          </a:xfrm>
          <a:solidFill>
            <a:schemeClr val="accent2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1624184"/>
            <a:ext cx="2736000" cy="343022"/>
          </a:xfrm>
          <a:solidFill>
            <a:schemeClr val="accent1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1624184"/>
            <a:ext cx="2736000" cy="343022"/>
          </a:xfrm>
          <a:solidFill>
            <a:schemeClr val="accent4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>
          <a:xfrm>
            <a:off x="3194050" y="4556125"/>
            <a:ext cx="3610198" cy="1933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5" hasCustomPrompt="1"/>
          </p:nvPr>
        </p:nvSpPr>
        <p:spPr>
          <a:xfrm>
            <a:off x="2916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3650072" y="3924178"/>
            <a:ext cx="1874428" cy="343022"/>
          </a:xfrm>
          <a:solidFill>
            <a:schemeClr val="tx2"/>
          </a:solidFill>
        </p:spPr>
        <p:txBody>
          <a:bodyPr lIns="72000" tIns="0" rIns="7200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29" hasCustomPrompt="1"/>
          </p:nvPr>
        </p:nvSpPr>
        <p:spPr>
          <a:xfrm>
            <a:off x="3201854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7" name="Bildplatzhalter 14"/>
          <p:cNvSpPr>
            <a:spLocks noGrp="1"/>
          </p:cNvSpPr>
          <p:nvPr>
            <p:ph type="pic" sz="quarter" idx="30" hasCustomPrompt="1"/>
          </p:nvPr>
        </p:nvSpPr>
        <p:spPr>
          <a:xfrm>
            <a:off x="61209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1" hasCustomPrompt="1"/>
          </p:nvPr>
        </p:nvSpPr>
        <p:spPr>
          <a:xfrm>
            <a:off x="288925" y="6202790"/>
            <a:ext cx="27360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55025373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-columns 3 - text &amp; arrows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/>
          <p:cNvSpPr/>
          <p:nvPr/>
        </p:nvSpPr>
        <p:spPr>
          <a:xfrm>
            <a:off x="3197460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120683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6604987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hteck 9"/>
          <p:cNvSpPr/>
          <p:nvPr/>
        </p:nvSpPr>
        <p:spPr>
          <a:xfrm>
            <a:off x="291599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86600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1599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2"/>
          </p:nvPr>
        </p:nvSpPr>
        <p:spPr>
          <a:xfrm>
            <a:off x="781235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33"/>
          </p:nvPr>
        </p:nvSpPr>
        <p:spPr>
          <a:xfrm>
            <a:off x="3693111" y="1645884"/>
            <a:ext cx="2166753" cy="617538"/>
          </a:xfr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6164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36"/>
          </p:nvPr>
        </p:nvSpPr>
        <p:spPr>
          <a:xfrm>
            <a:off x="6118658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206578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126556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Freihandform 34"/>
          <p:cNvSpPr/>
          <p:nvPr/>
        </p:nvSpPr>
        <p:spPr>
          <a:xfrm>
            <a:off x="319386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Textfeld 6"/>
          <p:cNvSpPr txBox="1"/>
          <p:nvPr/>
        </p:nvSpPr>
        <p:spPr>
          <a:xfrm>
            <a:off x="269075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8" name="Textfeld 27"/>
          <p:cNvSpPr txBox="1"/>
          <p:nvPr/>
        </p:nvSpPr>
        <p:spPr>
          <a:xfrm>
            <a:off x="31932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1" name="Textfeld 43"/>
          <p:cNvSpPr txBox="1"/>
          <p:nvPr/>
        </p:nvSpPr>
        <p:spPr>
          <a:xfrm>
            <a:off x="61269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9" name="Freihandform 38"/>
          <p:cNvSpPr/>
          <p:nvPr/>
        </p:nvSpPr>
        <p:spPr>
          <a:xfrm>
            <a:off x="28302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Freihandform 39"/>
          <p:cNvSpPr/>
          <p:nvPr/>
        </p:nvSpPr>
        <p:spPr>
          <a:xfrm>
            <a:off x="611994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051854"/>
      </p:ext>
    </p:extLst>
  </p:cSld>
  <p:clrMapOvr>
    <a:masterClrMapping/>
  </p:clrMapOvr>
  <p:hf hdr="0" ftr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6259C-38AB-42F9-BFD7-FAEBE525E8C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4950" y="2503115"/>
            <a:ext cx="2729162" cy="349822"/>
          </a:xfrm>
          <a:solidFill>
            <a:schemeClr val="accent2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1250" y="2503115"/>
            <a:ext cx="2745439" cy="349822"/>
          </a:xfrm>
          <a:solidFill>
            <a:schemeClr val="accent1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503115"/>
            <a:ext cx="2727403" cy="349822"/>
          </a:xfrm>
          <a:solidFill>
            <a:schemeClr val="accent4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Gerader Verbinder 17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494112" y="2905125"/>
            <a:ext cx="2520000" cy="126682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2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494112" y="4467225"/>
            <a:ext cx="2520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6" name="Diagrammplatzhalter 7"/>
          <p:cNvSpPr>
            <a:spLocks noGrp="1"/>
          </p:cNvSpPr>
          <p:nvPr>
            <p:ph type="chart" sz="quarter" idx="28"/>
          </p:nvPr>
        </p:nvSpPr>
        <p:spPr>
          <a:xfrm>
            <a:off x="320125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Diagrammplatzhalter 7"/>
          <p:cNvSpPr>
            <a:spLocks noGrp="1"/>
          </p:cNvSpPr>
          <p:nvPr>
            <p:ph type="chart" sz="quarter" idx="29"/>
          </p:nvPr>
        </p:nvSpPr>
        <p:spPr>
          <a:xfrm>
            <a:off x="320125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0" name="Diagrammplatzhalter 7"/>
          <p:cNvSpPr>
            <a:spLocks noGrp="1"/>
          </p:cNvSpPr>
          <p:nvPr>
            <p:ph type="chart" sz="quarter" idx="30"/>
          </p:nvPr>
        </p:nvSpPr>
        <p:spPr>
          <a:xfrm>
            <a:off x="612140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31"/>
          </p:nvPr>
        </p:nvSpPr>
        <p:spPr>
          <a:xfrm>
            <a:off x="612140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2"/>
          </p:nvPr>
        </p:nvSpPr>
        <p:spPr>
          <a:xfrm rot="16200000">
            <a:off x="-304062" y="34726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33"/>
          </p:nvPr>
        </p:nvSpPr>
        <p:spPr>
          <a:xfrm rot="16200000">
            <a:off x="-304062" y="50347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3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32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5" name="Gerader Verbinder 17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4"/>
          <p:cNvCxnSpPr/>
          <p:nvPr userDrawn="1"/>
        </p:nvCxnSpPr>
        <p:spPr>
          <a:xfrm>
            <a:off x="288925" y="4288929"/>
            <a:ext cx="27328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7"/>
          <p:cNvCxnSpPr/>
          <p:nvPr userDrawn="1"/>
        </p:nvCxnSpPr>
        <p:spPr>
          <a:xfrm>
            <a:off x="3201250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1"/>
          <p:cNvCxnSpPr/>
          <p:nvPr userDrawn="1"/>
        </p:nvCxnSpPr>
        <p:spPr>
          <a:xfrm>
            <a:off x="6125425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462727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Gerader Verbinder 29"/>
          <p:cNvCxnSpPr/>
          <p:nvPr/>
        </p:nvCxnSpPr>
        <p:spPr>
          <a:xfrm>
            <a:off x="3483088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291600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291600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24929-C96C-4563-B23F-56BD00E51E1C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777263"/>
            <a:ext cx="2005200" cy="527912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spcBef>
                <a:spcPts val="0"/>
              </a:spcBef>
              <a:buFont typeface="Arial" panose="020B0604020202020204" pitchFamily="34" charset="0"/>
              <a:buNone/>
              <a:tabLst/>
              <a:defRPr lang="de-AT" sz="1200" cap="all" baseline="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cxnSp>
        <p:nvCxnSpPr>
          <p:cNvPr id="43" name="Gerader Verbinder 42"/>
          <p:cNvCxnSpPr/>
          <p:nvPr/>
        </p:nvCxnSpPr>
        <p:spPr>
          <a:xfrm>
            <a:off x="5669616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/>
        </p:nvCxnSpPr>
        <p:spPr>
          <a:xfrm>
            <a:off x="4583857" y="2295922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480885" y="2777263"/>
            <a:ext cx="2005200" cy="52791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4652585" y="2777263"/>
            <a:ext cx="2005200" cy="527912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6852382" y="2777263"/>
            <a:ext cx="2005200" cy="527912"/>
          </a:xfrm>
          <a:solidFill>
            <a:schemeClr val="accent3"/>
          </a:solidFill>
        </p:spPr>
        <p:txBody>
          <a:bodyPr wrap="square" lIns="72000" tIns="36000" rIns="72000" bIns="36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37"/>
          </p:nvPr>
        </p:nvSpPr>
        <p:spPr>
          <a:xfrm rot="16200000">
            <a:off x="-304062" y="3996475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38"/>
          </p:nvPr>
        </p:nvSpPr>
        <p:spPr>
          <a:xfrm rot="16200000">
            <a:off x="-257627" y="5512140"/>
            <a:ext cx="1174206" cy="132125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Diagrammplatzhalter 7"/>
          <p:cNvSpPr>
            <a:spLocks noGrp="1"/>
          </p:cNvSpPr>
          <p:nvPr>
            <p:ph type="chart" sz="quarter" idx="39"/>
          </p:nvPr>
        </p:nvSpPr>
        <p:spPr>
          <a:xfrm>
            <a:off x="24808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40"/>
          </p:nvPr>
        </p:nvSpPr>
        <p:spPr>
          <a:xfrm>
            <a:off x="24808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2" name="Diagrammplatzhalter 7"/>
          <p:cNvSpPr>
            <a:spLocks noGrp="1"/>
          </p:cNvSpPr>
          <p:nvPr>
            <p:ph type="chart" sz="quarter" idx="41"/>
          </p:nvPr>
        </p:nvSpPr>
        <p:spPr>
          <a:xfrm>
            <a:off x="46525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Diagrammplatzhalter 7"/>
          <p:cNvSpPr>
            <a:spLocks noGrp="1"/>
          </p:cNvSpPr>
          <p:nvPr>
            <p:ph type="chart" sz="quarter" idx="42"/>
          </p:nvPr>
        </p:nvSpPr>
        <p:spPr>
          <a:xfrm>
            <a:off x="46525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Diagrammplatzhalter 7"/>
          <p:cNvSpPr>
            <a:spLocks noGrp="1"/>
          </p:cNvSpPr>
          <p:nvPr>
            <p:ph type="chart" sz="quarter" idx="43"/>
          </p:nvPr>
        </p:nvSpPr>
        <p:spPr>
          <a:xfrm>
            <a:off x="6852382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6" name="Diagrammplatzhalter 7"/>
          <p:cNvSpPr>
            <a:spLocks noGrp="1"/>
          </p:cNvSpPr>
          <p:nvPr>
            <p:ph type="chart" sz="quarter" idx="44"/>
          </p:nvPr>
        </p:nvSpPr>
        <p:spPr>
          <a:xfrm>
            <a:off x="6852382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73" name="Freihandform 6"/>
          <p:cNvSpPr/>
          <p:nvPr/>
        </p:nvSpPr>
        <p:spPr>
          <a:xfrm>
            <a:off x="1291480" y="2560712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Freihandform 6"/>
          <p:cNvSpPr/>
          <p:nvPr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0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49" name="Freihandform 6"/>
          <p:cNvSpPr/>
          <p:nvPr userDrawn="1"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56" name="Gerader Verbinder 45"/>
          <p:cNvCxnSpPr/>
          <p:nvPr userDrawn="1"/>
        </p:nvCxnSpPr>
        <p:spPr>
          <a:xfrm>
            <a:off x="282732" y="4777937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3"/>
          <p:cNvCxnSpPr/>
          <p:nvPr userDrawn="1"/>
        </p:nvCxnSpPr>
        <p:spPr>
          <a:xfrm>
            <a:off x="2489199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/>
          <p:cNvCxnSpPr/>
          <p:nvPr userDrawn="1"/>
        </p:nvCxnSpPr>
        <p:spPr>
          <a:xfrm>
            <a:off x="4670424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61"/>
          <p:cNvCxnSpPr/>
          <p:nvPr userDrawn="1"/>
        </p:nvCxnSpPr>
        <p:spPr>
          <a:xfrm>
            <a:off x="6852382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02639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tur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8DBF8-6C51-44BC-AE2F-71860FCD3DEA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07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291600" y="2544763"/>
            <a:ext cx="2005200" cy="153007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78869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1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668813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858756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395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5005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27493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46817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9305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68534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71022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2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24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495040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AEBBD-AC5E-4698-A169-10AEF6D8758F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9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15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69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61172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1208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1262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8180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201780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8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207180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201573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50" name="Textplatzhalt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6133699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5" name="Rechteck 2"/>
          <p:cNvSpPr/>
          <p:nvPr userDrawn="1"/>
        </p:nvSpPr>
        <p:spPr>
          <a:xfrm>
            <a:off x="2875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1" name="Rechteck 43"/>
          <p:cNvSpPr/>
          <p:nvPr userDrawn="1"/>
        </p:nvSpPr>
        <p:spPr>
          <a:xfrm>
            <a:off x="61168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2" name="Rechteck 48"/>
          <p:cNvSpPr/>
          <p:nvPr userDrawn="1"/>
        </p:nvSpPr>
        <p:spPr>
          <a:xfrm>
            <a:off x="3197755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06569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8616D-BF26-4D2D-A112-267FD684263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6790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976824"/>
            <a:ext cx="19980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390" y="4780012"/>
            <a:ext cx="1980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30"/>
          </p:nvPr>
        </p:nvSpPr>
        <p:spPr>
          <a:xfrm>
            <a:off x="6854953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867553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4665668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4678268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2467592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71192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0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480192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4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1" name="Textplatzhalt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2491211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2" name="Textplatzhalter 12"/>
          <p:cNvSpPr>
            <a:spLocks noGrp="1"/>
          </p:cNvSpPr>
          <p:nvPr>
            <p:ph type="body" sz="quarter" idx="43" hasCustomPrompt="1"/>
          </p:nvPr>
        </p:nvSpPr>
        <p:spPr>
          <a:xfrm>
            <a:off x="468274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3" name="Textplatzhalter 12"/>
          <p:cNvSpPr>
            <a:spLocks noGrp="1"/>
          </p:cNvSpPr>
          <p:nvPr>
            <p:ph type="body" sz="quarter" idx="44" hasCustomPrompt="1"/>
          </p:nvPr>
        </p:nvSpPr>
        <p:spPr>
          <a:xfrm>
            <a:off x="686672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5" name="Rechteck 2"/>
          <p:cNvSpPr/>
          <p:nvPr userDrawn="1"/>
        </p:nvSpPr>
        <p:spPr>
          <a:xfrm>
            <a:off x="286790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6" name="Rechteck 22"/>
          <p:cNvSpPr/>
          <p:nvPr userDrawn="1"/>
        </p:nvSpPr>
        <p:spPr>
          <a:xfrm>
            <a:off x="6854953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7" name="Rechteck 27"/>
          <p:cNvSpPr/>
          <p:nvPr userDrawn="1"/>
        </p:nvSpPr>
        <p:spPr>
          <a:xfrm>
            <a:off x="4665668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8" name="Rechteck 33"/>
          <p:cNvSpPr/>
          <p:nvPr userDrawn="1"/>
        </p:nvSpPr>
        <p:spPr>
          <a:xfrm>
            <a:off x="2467592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42967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5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89366-5B56-499E-BA6A-1F79747195A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887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8887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67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7294567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7294567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7305367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7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7864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7864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7972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9"/>
          </p:nvPr>
        </p:nvSpPr>
        <p:spPr>
          <a:xfrm>
            <a:off x="20338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0338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7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0446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43"/>
          </p:nvPr>
        </p:nvSpPr>
        <p:spPr>
          <a:xfrm>
            <a:off x="553233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5532335" y="2093397"/>
            <a:ext cx="1569505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2" name="Diagrammplatzhalter 11"/>
          <p:cNvSpPr>
            <a:spLocks noGrp="1"/>
          </p:cNvSpPr>
          <p:nvPr>
            <p:ph type="chart" sz="quarter" idx="45"/>
          </p:nvPr>
        </p:nvSpPr>
        <p:spPr>
          <a:xfrm>
            <a:off x="554313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Rechteck 26"/>
          <p:cNvSpPr/>
          <p:nvPr/>
        </p:nvSpPr>
        <p:spPr>
          <a:xfrm>
            <a:off x="7294567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7864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0338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53233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2" name="Rechteck 2"/>
          <p:cNvSpPr/>
          <p:nvPr/>
        </p:nvSpPr>
        <p:spPr>
          <a:xfrm>
            <a:off x="28887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81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2" name="Textplatzhalter 12"/>
          <p:cNvSpPr>
            <a:spLocks noGrp="1"/>
          </p:cNvSpPr>
          <p:nvPr>
            <p:ph type="body" sz="quarter" idx="46" hasCustomPrompt="1"/>
          </p:nvPr>
        </p:nvSpPr>
        <p:spPr>
          <a:xfrm>
            <a:off x="2045347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3" name="Textplatzhalt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379857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4" name="Textplatzhalt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555180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5" name="Textplatzhalt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7312593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8716426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2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4192488" cy="4563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310B4-A1C2-4B60-B54E-E4BD04F93B79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59313" y="1627201"/>
            <a:ext cx="4187825" cy="220502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659313" y="3919789"/>
            <a:ext cx="4187825" cy="22206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91567703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38"/>
          </p:nvPr>
        </p:nvSpPr>
        <p:spPr>
          <a:xfrm>
            <a:off x="292789" y="4292600"/>
            <a:ext cx="2528887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0E165-890C-4C3B-B00C-845BA0E51C31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40" y="1626434"/>
            <a:ext cx="2860694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594309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911889" y="1626434"/>
            <a:ext cx="320029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027363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5876144" y="1626434"/>
            <a:ext cx="297942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2912596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585802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6"/>
          <p:cNvSpPr>
            <a:spLocks noGrp="1"/>
          </p:cNvSpPr>
          <p:nvPr>
            <p:ph type="body" sz="quarter" idx="39"/>
          </p:nvPr>
        </p:nvSpPr>
        <p:spPr>
          <a:xfrm>
            <a:off x="3027363" y="4292600"/>
            <a:ext cx="2529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40"/>
          </p:nvPr>
        </p:nvSpPr>
        <p:spPr>
          <a:xfrm>
            <a:off x="5943091" y="4292600"/>
            <a:ext cx="2530800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63764369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7047E-3A29-4B71-A144-C980ADA2BDF1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2148229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805122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4451746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212021" y="1626434"/>
            <a:ext cx="240909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2286554" y="2568087"/>
            <a:ext cx="198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4397667" y="1626434"/>
            <a:ext cx="241400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219395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588224" y="1626434"/>
            <a:ext cx="2264631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6617908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53" name="Gerade Verbindung 52"/>
          <p:cNvCxnSpPr/>
          <p:nvPr/>
        </p:nvCxnSpPr>
        <p:spPr>
          <a:xfrm>
            <a:off x="435915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/>
        </p:nvCxnSpPr>
        <p:spPr>
          <a:xfrm>
            <a:off x="65253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41"/>
          </p:nvPr>
        </p:nvSpPr>
        <p:spPr>
          <a:xfrm>
            <a:off x="292789" y="4292600"/>
            <a:ext cx="1798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42"/>
          </p:nvPr>
        </p:nvSpPr>
        <p:spPr>
          <a:xfrm>
            <a:off x="2284054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43"/>
          </p:nvPr>
        </p:nvSpPr>
        <p:spPr>
          <a:xfrm>
            <a:off x="4454316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6624577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80583424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292789" y="4292600"/>
            <a:ext cx="145346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E2BAD-230E-4195-9428-DBCC11E6CF4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1708615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347975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7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3612039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1763758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1854127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511662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8" name="Gerade Verbindung 47"/>
          <p:cNvCxnSpPr/>
          <p:nvPr userDrawn="1"/>
        </p:nvCxnSpPr>
        <p:spPr>
          <a:xfrm>
            <a:off x="1747792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5259566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5369951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64" name="Gerade Verbindung 63"/>
          <p:cNvCxnSpPr/>
          <p:nvPr/>
        </p:nvCxnSpPr>
        <p:spPr>
          <a:xfrm>
            <a:off x="350609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 userDrawn="1"/>
        </p:nvCxnSpPr>
        <p:spPr>
          <a:xfrm>
            <a:off x="70227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12"/>
          <p:cNvSpPr>
            <a:spLocks noGrp="1"/>
          </p:cNvSpPr>
          <p:nvPr>
            <p:ph type="body" sz="quarter" idx="41"/>
          </p:nvPr>
        </p:nvSpPr>
        <p:spPr>
          <a:xfrm>
            <a:off x="7007469" y="1626434"/>
            <a:ext cx="184210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7" name="Gerade Verbindung 66"/>
          <p:cNvCxnSpPr/>
          <p:nvPr/>
        </p:nvCxnSpPr>
        <p:spPr>
          <a:xfrm>
            <a:off x="5264404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7127862" y="2568087"/>
            <a:ext cx="144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45"/>
          </p:nvPr>
        </p:nvSpPr>
        <p:spPr>
          <a:xfrm>
            <a:off x="1854171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46"/>
          </p:nvPr>
        </p:nvSpPr>
        <p:spPr>
          <a:xfrm>
            <a:off x="3605334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6"/>
          <p:cNvSpPr>
            <a:spLocks noGrp="1"/>
          </p:cNvSpPr>
          <p:nvPr>
            <p:ph type="body" sz="quarter" idx="47"/>
          </p:nvPr>
        </p:nvSpPr>
        <p:spPr>
          <a:xfrm>
            <a:off x="5365122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48"/>
          </p:nvPr>
        </p:nvSpPr>
        <p:spPr>
          <a:xfrm>
            <a:off x="7133537" y="4292600"/>
            <a:ext cx="1542919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75606896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DDFF4-A2AB-4764-A3CE-715580F2787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60801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56638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gridlines - pls don'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Raster </a:t>
            </a:r>
            <a:r>
              <a:rPr lang="en-US" dirty="0" err="1"/>
              <a:t>nur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neuerlichen</a:t>
            </a:r>
            <a:r>
              <a:rPr lang="en-US" dirty="0"/>
              <a:t> </a:t>
            </a:r>
            <a:r>
              <a:rPr lang="en-US" dirty="0" err="1"/>
              <a:t>Ausrichtung</a:t>
            </a:r>
            <a:r>
              <a:rPr lang="en-US" dirty="0"/>
              <a:t> der </a:t>
            </a:r>
            <a:r>
              <a:rPr lang="en-US" dirty="0" err="1"/>
              <a:t>Hilfslinie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verwenden</a:t>
            </a:r>
            <a:r>
              <a:rPr lang="en-US" dirty="0"/>
              <a:t>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28B82-505B-44E6-AD30-0FE5D7FE48C8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Mittelkreuz"/>
          <p:cNvGrpSpPr/>
          <p:nvPr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37" name="Mittellinie vertikal"/>
            <p:cNvCxnSpPr/>
            <p:nvPr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9" name="Mittellinie horizontal"/>
            <p:cNvCxnSpPr/>
            <p:nvPr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99" name="Rechteckige Legende 16"/>
            <p:cNvSpPr/>
            <p:nvPr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 err="1">
                  <a:solidFill>
                    <a:prstClr val="black"/>
                  </a:solidFill>
                </a:rPr>
                <a:t>Abstand</a:t>
              </a:r>
              <a:r>
                <a:rPr lang="en-US" sz="1050" dirty="0">
                  <a:solidFill>
                    <a:prstClr val="black"/>
                  </a:solidFill>
                </a:rPr>
                <a:t> der </a:t>
              </a:r>
              <a:r>
                <a:rPr lang="en-US" sz="1050" dirty="0" err="1">
                  <a:solidFill>
                    <a:prstClr val="black"/>
                  </a:solidFill>
                </a:rPr>
                <a:t>Hilfslinien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vom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Mittelpunkt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weg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gemessen</a:t>
              </a:r>
              <a:endParaRPr lang="en-US" sz="105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93" name="Links horizontal"/>
          <p:cNvGrpSpPr/>
          <p:nvPr userDrawn="1"/>
        </p:nvGrpSpPr>
        <p:grpSpPr>
          <a:xfrm>
            <a:off x="284950" y="1862906"/>
            <a:ext cx="4372144" cy="1153658"/>
            <a:chOff x="284950" y="1862906"/>
            <a:chExt cx="4372144" cy="1153658"/>
          </a:xfrm>
        </p:grpSpPr>
        <p:cxnSp>
          <p:nvCxnSpPr>
            <p:cNvPr id="94" name="Gerade Verbindung mit Pfeil 6"/>
            <p:cNvCxnSpPr/>
            <p:nvPr/>
          </p:nvCxnSpPr>
          <p:spPr>
            <a:xfrm flipH="1">
              <a:off x="4483100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5" name="Textfeld 15"/>
            <p:cNvSpPr txBox="1"/>
            <p:nvPr userDrawn="1"/>
          </p:nvSpPr>
          <p:spPr>
            <a:xfrm>
              <a:off x="4270450" y="2801120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25</a:t>
              </a:r>
            </a:p>
          </p:txBody>
        </p:sp>
        <p:cxnSp>
          <p:nvCxnSpPr>
            <p:cNvPr id="96" name="Gerade Verbindung mit Pfeil 35"/>
            <p:cNvCxnSpPr/>
            <p:nvPr userDrawn="1"/>
          </p:nvCxnSpPr>
          <p:spPr>
            <a:xfrm flipH="1">
              <a:off x="3205163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7" name="Textfeld 90"/>
            <p:cNvSpPr txBox="1"/>
            <p:nvPr userDrawn="1"/>
          </p:nvSpPr>
          <p:spPr>
            <a:xfrm flipH="1">
              <a:off x="3377476" y="2610619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8</a:t>
              </a:r>
            </a:p>
          </p:txBody>
        </p:sp>
        <p:cxnSp>
          <p:nvCxnSpPr>
            <p:cNvPr id="98" name="Gerade Verbindung mit Pfeil 37"/>
            <p:cNvCxnSpPr/>
            <p:nvPr userDrawn="1"/>
          </p:nvCxnSpPr>
          <p:spPr>
            <a:xfrm flipH="1">
              <a:off x="302260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9" name="Textfeld 77"/>
            <p:cNvSpPr txBox="1"/>
            <p:nvPr userDrawn="1"/>
          </p:nvSpPr>
          <p:spPr>
            <a:xfrm>
              <a:off x="3213008" y="2467744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4,3</a:t>
              </a:r>
            </a:p>
          </p:txBody>
        </p:sp>
        <p:cxnSp>
          <p:nvCxnSpPr>
            <p:cNvPr id="100" name="Gerade Verbindung mit Pfeil 66"/>
            <p:cNvCxnSpPr/>
            <p:nvPr userDrawn="1"/>
          </p:nvCxnSpPr>
          <p:spPr>
            <a:xfrm flipH="1">
              <a:off x="174625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1" name="Textfeld 76"/>
            <p:cNvSpPr txBox="1"/>
            <p:nvPr userDrawn="1"/>
          </p:nvSpPr>
          <p:spPr>
            <a:xfrm>
              <a:off x="1965875" y="2120081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85</a:t>
              </a:r>
            </a:p>
          </p:txBody>
        </p:sp>
        <p:cxnSp>
          <p:nvCxnSpPr>
            <p:cNvPr id="102" name="Gerade Verbindung mit Pfeil 67"/>
            <p:cNvCxnSpPr/>
            <p:nvPr userDrawn="1"/>
          </p:nvCxnSpPr>
          <p:spPr>
            <a:xfrm flipH="1">
              <a:off x="1567181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3" name="Textfeld 75"/>
            <p:cNvSpPr txBox="1"/>
            <p:nvPr userDrawn="1"/>
          </p:nvSpPr>
          <p:spPr>
            <a:xfrm>
              <a:off x="1711781" y="1991494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8,35</a:t>
              </a:r>
            </a:p>
          </p:txBody>
        </p:sp>
        <p:cxnSp>
          <p:nvCxnSpPr>
            <p:cNvPr id="104" name="Gerade Verbindung mit Pfeil 68"/>
            <p:cNvCxnSpPr/>
            <p:nvPr userDrawn="1"/>
          </p:nvCxnSpPr>
          <p:spPr>
            <a:xfrm flipH="1">
              <a:off x="28495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17" name="Textfeld 74"/>
            <p:cNvSpPr txBox="1"/>
            <p:nvPr userDrawn="1"/>
          </p:nvSpPr>
          <p:spPr>
            <a:xfrm>
              <a:off x="468488" y="1862906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1,9</a:t>
              </a:r>
            </a:p>
          </p:txBody>
        </p:sp>
      </p:grpSp>
      <p:grpSp>
        <p:nvGrpSpPr>
          <p:cNvPr id="118" name="Rechts horizontal"/>
          <p:cNvGrpSpPr/>
          <p:nvPr userDrawn="1"/>
        </p:nvGrpSpPr>
        <p:grpSpPr>
          <a:xfrm>
            <a:off x="4570080" y="1862906"/>
            <a:ext cx="4285466" cy="1153658"/>
            <a:chOff x="4570080" y="1862906"/>
            <a:chExt cx="4285466" cy="1153658"/>
          </a:xfrm>
        </p:grpSpPr>
        <p:cxnSp>
          <p:nvCxnSpPr>
            <p:cNvPr id="119" name="Gerade Verbindung mit Pfeil 84"/>
            <p:cNvCxnSpPr/>
            <p:nvPr userDrawn="1"/>
          </p:nvCxnSpPr>
          <p:spPr>
            <a:xfrm>
              <a:off x="457008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0" name="Textfeld 86"/>
            <p:cNvSpPr txBox="1"/>
            <p:nvPr userDrawn="1"/>
          </p:nvSpPr>
          <p:spPr>
            <a:xfrm flipH="1">
              <a:off x="8220426" y="1862906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11,9</a:t>
              </a:r>
            </a:p>
          </p:txBody>
        </p:sp>
        <p:cxnSp>
          <p:nvCxnSpPr>
            <p:cNvPr id="121" name="Gerade Verbindung mit Pfeil 83"/>
            <p:cNvCxnSpPr/>
            <p:nvPr userDrawn="1"/>
          </p:nvCxnSpPr>
          <p:spPr>
            <a:xfrm>
              <a:off x="4570080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2" name="Textfeld 87"/>
            <p:cNvSpPr txBox="1"/>
            <p:nvPr userDrawn="1"/>
          </p:nvSpPr>
          <p:spPr>
            <a:xfrm flipH="1">
              <a:off x="7006560" y="1991494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8,35</a:t>
              </a:r>
            </a:p>
          </p:txBody>
        </p:sp>
        <p:cxnSp>
          <p:nvCxnSpPr>
            <p:cNvPr id="123" name="Gerade Verbindung mit Pfeil 82"/>
            <p:cNvCxnSpPr/>
            <p:nvPr userDrawn="1"/>
          </p:nvCxnSpPr>
          <p:spPr>
            <a:xfrm>
              <a:off x="457008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7" name="Textfeld 88"/>
            <p:cNvSpPr txBox="1"/>
            <p:nvPr userDrawn="1"/>
          </p:nvSpPr>
          <p:spPr>
            <a:xfrm flipH="1">
              <a:off x="6726441" y="2120081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7,85</a:t>
              </a:r>
            </a:p>
          </p:txBody>
        </p:sp>
        <p:cxnSp>
          <p:nvCxnSpPr>
            <p:cNvPr id="130" name="Gerade Verbindung mit Pfeil 81"/>
            <p:cNvCxnSpPr/>
            <p:nvPr userDrawn="1"/>
          </p:nvCxnSpPr>
          <p:spPr>
            <a:xfrm>
              <a:off x="457008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1" name="Textfeld 89"/>
            <p:cNvSpPr txBox="1"/>
            <p:nvPr userDrawn="1"/>
          </p:nvSpPr>
          <p:spPr>
            <a:xfrm flipH="1">
              <a:off x="5550235" y="2467744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4,3</a:t>
              </a:r>
            </a:p>
          </p:txBody>
        </p:sp>
        <p:cxnSp>
          <p:nvCxnSpPr>
            <p:cNvPr id="166" name="Gerade Verbindung mit Pfeil 80"/>
            <p:cNvCxnSpPr/>
            <p:nvPr userDrawn="1"/>
          </p:nvCxnSpPr>
          <p:spPr>
            <a:xfrm>
              <a:off x="4570080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4" name="Textfeld 90"/>
            <p:cNvSpPr txBox="1"/>
            <p:nvPr userDrawn="1"/>
          </p:nvSpPr>
          <p:spPr>
            <a:xfrm flipH="1">
              <a:off x="5336325" y="2610619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3,8</a:t>
              </a:r>
            </a:p>
          </p:txBody>
        </p:sp>
        <p:cxnSp>
          <p:nvCxnSpPr>
            <p:cNvPr id="186" name="Gerade Verbindung mit Pfeil 79"/>
            <p:cNvCxnSpPr/>
            <p:nvPr userDrawn="1"/>
          </p:nvCxnSpPr>
          <p:spPr>
            <a:xfrm>
              <a:off x="4581832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7" name="Textfeld 85"/>
            <p:cNvSpPr txBox="1"/>
            <p:nvPr userDrawn="1"/>
          </p:nvSpPr>
          <p:spPr>
            <a:xfrm flipH="1">
              <a:off x="4570080" y="2801120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0,25</a:t>
              </a:r>
            </a:p>
          </p:txBody>
        </p:sp>
      </p:grpSp>
      <p:grpSp>
        <p:nvGrpSpPr>
          <p:cNvPr id="201" name="Unten vertikal"/>
          <p:cNvGrpSpPr/>
          <p:nvPr userDrawn="1"/>
        </p:nvGrpSpPr>
        <p:grpSpPr>
          <a:xfrm>
            <a:off x="1928739" y="3429000"/>
            <a:ext cx="979652" cy="2706853"/>
            <a:chOff x="1928739" y="3429000"/>
            <a:chExt cx="979652" cy="2706853"/>
          </a:xfrm>
        </p:grpSpPr>
        <p:cxnSp>
          <p:nvCxnSpPr>
            <p:cNvPr id="202" name="Gerade Verbindung mit Pfeil 102"/>
            <p:cNvCxnSpPr/>
            <p:nvPr userDrawn="1"/>
          </p:nvCxnSpPr>
          <p:spPr>
            <a:xfrm>
              <a:off x="2875434" y="3429000"/>
              <a:ext cx="0" cy="270685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3" name="Textfeld 116"/>
            <p:cNvSpPr txBox="1"/>
            <p:nvPr userDrawn="1"/>
          </p:nvSpPr>
          <p:spPr>
            <a:xfrm>
              <a:off x="1928739" y="3466610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12</a:t>
              </a:r>
            </a:p>
          </p:txBody>
        </p:sp>
        <p:cxnSp>
          <p:nvCxnSpPr>
            <p:cNvPr id="204" name="Gerade Verbindung mit Pfeil 96"/>
            <p:cNvCxnSpPr/>
            <p:nvPr userDrawn="1"/>
          </p:nvCxnSpPr>
          <p:spPr>
            <a:xfrm>
              <a:off x="2011185" y="3429000"/>
              <a:ext cx="0" cy="40291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5" name="Textfeld 117"/>
            <p:cNvSpPr txBox="1"/>
            <p:nvPr userDrawn="1"/>
          </p:nvSpPr>
          <p:spPr>
            <a:xfrm>
              <a:off x="2096786" y="363437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37</a:t>
              </a:r>
            </a:p>
          </p:txBody>
        </p:sp>
        <p:cxnSp>
          <p:nvCxnSpPr>
            <p:cNvPr id="206" name="Gerade Verbindung mit Pfeil 97"/>
            <p:cNvCxnSpPr/>
            <p:nvPr userDrawn="1"/>
          </p:nvCxnSpPr>
          <p:spPr>
            <a:xfrm>
              <a:off x="2165335" y="3429000"/>
              <a:ext cx="0" cy="4937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7" name="Textfeld 118"/>
            <p:cNvSpPr txBox="1"/>
            <p:nvPr/>
          </p:nvSpPr>
          <p:spPr>
            <a:xfrm>
              <a:off x="2115836" y="43265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25</a:t>
              </a:r>
            </a:p>
          </p:txBody>
        </p:sp>
        <p:cxnSp>
          <p:nvCxnSpPr>
            <p:cNvPr id="208" name="Gerade Verbindung mit Pfeil 98"/>
            <p:cNvCxnSpPr/>
            <p:nvPr userDrawn="1"/>
          </p:nvCxnSpPr>
          <p:spPr>
            <a:xfrm>
              <a:off x="2319485" y="3429000"/>
              <a:ext cx="0" cy="117395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9" name="Textfeld 119"/>
            <p:cNvSpPr txBox="1"/>
            <p:nvPr userDrawn="1"/>
          </p:nvSpPr>
          <p:spPr>
            <a:xfrm>
              <a:off x="2395236" y="44408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5</a:t>
              </a:r>
            </a:p>
          </p:txBody>
        </p:sp>
        <p:cxnSp>
          <p:nvCxnSpPr>
            <p:cNvPr id="210" name="Gerade Verbindung mit Pfeil 99"/>
            <p:cNvCxnSpPr/>
            <p:nvPr userDrawn="1"/>
          </p:nvCxnSpPr>
          <p:spPr>
            <a:xfrm>
              <a:off x="2473635" y="3429000"/>
              <a:ext cx="0" cy="126206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1" name="Textfeld 120"/>
            <p:cNvSpPr txBox="1"/>
            <p:nvPr userDrawn="1"/>
          </p:nvSpPr>
          <p:spPr>
            <a:xfrm>
              <a:off x="2420255" y="504170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38</a:t>
              </a:r>
            </a:p>
          </p:txBody>
        </p:sp>
        <p:cxnSp>
          <p:nvCxnSpPr>
            <p:cNvPr id="212" name="Gerade Verbindung mit Pfeil 100"/>
            <p:cNvCxnSpPr/>
            <p:nvPr userDrawn="1"/>
          </p:nvCxnSpPr>
          <p:spPr>
            <a:xfrm>
              <a:off x="2627784" y="3429000"/>
              <a:ext cx="0" cy="19415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3" name="Textfeld 121"/>
            <p:cNvSpPr txBox="1"/>
            <p:nvPr userDrawn="1"/>
          </p:nvSpPr>
          <p:spPr>
            <a:xfrm>
              <a:off x="2686955" y="520176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63</a:t>
              </a:r>
            </a:p>
          </p:txBody>
        </p:sp>
        <p:cxnSp>
          <p:nvCxnSpPr>
            <p:cNvPr id="214" name="Gerade Verbindung mit Pfeil 101"/>
            <p:cNvCxnSpPr/>
            <p:nvPr userDrawn="1"/>
          </p:nvCxnSpPr>
          <p:spPr>
            <a:xfrm>
              <a:off x="2756371" y="3429000"/>
              <a:ext cx="0" cy="203200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5" name="Textfeld 122"/>
            <p:cNvSpPr txBox="1"/>
            <p:nvPr userDrawn="1"/>
          </p:nvSpPr>
          <p:spPr>
            <a:xfrm>
              <a:off x="2655205" y="590661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51</a:t>
              </a:r>
            </a:p>
          </p:txBody>
        </p:sp>
      </p:grpSp>
      <p:grpSp>
        <p:nvGrpSpPr>
          <p:cNvPr id="216" name="Oben vertikal"/>
          <p:cNvGrpSpPr/>
          <p:nvPr userDrawn="1"/>
        </p:nvGrpSpPr>
        <p:grpSpPr>
          <a:xfrm>
            <a:off x="417195" y="1622737"/>
            <a:ext cx="883952" cy="1806266"/>
            <a:chOff x="417195" y="1622737"/>
            <a:chExt cx="883952" cy="1806266"/>
          </a:xfrm>
        </p:grpSpPr>
        <p:cxnSp>
          <p:nvCxnSpPr>
            <p:cNvPr id="217" name="Gerade Verbindung mit Pfeil 22"/>
            <p:cNvCxnSpPr/>
            <p:nvPr/>
          </p:nvCxnSpPr>
          <p:spPr>
            <a:xfrm flipV="1">
              <a:off x="656527" y="3157525"/>
              <a:ext cx="0" cy="27147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8" name="Textfeld 78"/>
            <p:cNvSpPr txBox="1"/>
            <p:nvPr userDrawn="1"/>
          </p:nvSpPr>
          <p:spPr>
            <a:xfrm>
              <a:off x="417195" y="3276985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76</a:t>
              </a:r>
            </a:p>
          </p:txBody>
        </p:sp>
        <p:cxnSp>
          <p:nvCxnSpPr>
            <p:cNvPr id="219" name="Gerade Verbindung mit Pfeil 92"/>
            <p:cNvCxnSpPr/>
            <p:nvPr userDrawn="1"/>
          </p:nvCxnSpPr>
          <p:spPr>
            <a:xfrm flipV="1">
              <a:off x="810677" y="3066100"/>
              <a:ext cx="0" cy="362901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0" name="Textfeld 103"/>
            <p:cNvSpPr txBox="1"/>
            <p:nvPr userDrawn="1"/>
          </p:nvSpPr>
          <p:spPr>
            <a:xfrm>
              <a:off x="738031" y="3175385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01</a:t>
              </a:r>
            </a:p>
          </p:txBody>
        </p:sp>
        <p:cxnSp>
          <p:nvCxnSpPr>
            <p:cNvPr id="221" name="Gerade Verbindung mit Pfeil 93"/>
            <p:cNvCxnSpPr/>
            <p:nvPr userDrawn="1"/>
          </p:nvCxnSpPr>
          <p:spPr>
            <a:xfrm flipV="1">
              <a:off x="964827" y="2388396"/>
              <a:ext cx="0" cy="104060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2" name="Textfeld 112"/>
            <p:cNvSpPr txBox="1"/>
            <p:nvPr userDrawn="1"/>
          </p:nvSpPr>
          <p:spPr>
            <a:xfrm>
              <a:off x="738859" y="25991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2,89</a:t>
              </a:r>
            </a:p>
          </p:txBody>
        </p:sp>
        <p:cxnSp>
          <p:nvCxnSpPr>
            <p:cNvPr id="223" name="Gerade Verbindung mit Pfeil 94"/>
            <p:cNvCxnSpPr/>
            <p:nvPr userDrawn="1"/>
          </p:nvCxnSpPr>
          <p:spPr>
            <a:xfrm flipV="1">
              <a:off x="1118977" y="2295525"/>
              <a:ext cx="0" cy="1133477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4" name="Textfeld 113"/>
            <p:cNvSpPr txBox="1"/>
            <p:nvPr userDrawn="1"/>
          </p:nvSpPr>
          <p:spPr>
            <a:xfrm>
              <a:off x="1048124" y="24340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14</a:t>
              </a:r>
            </a:p>
          </p:txBody>
        </p:sp>
        <p:cxnSp>
          <p:nvCxnSpPr>
            <p:cNvPr id="225" name="Gerade Verbindung mit Pfeil 95"/>
            <p:cNvCxnSpPr/>
            <p:nvPr userDrawn="1"/>
          </p:nvCxnSpPr>
          <p:spPr>
            <a:xfrm flipV="1">
              <a:off x="1273126" y="1622737"/>
              <a:ext cx="0" cy="180626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6" name="Textfeld 115"/>
            <p:cNvSpPr txBox="1"/>
            <p:nvPr/>
          </p:nvSpPr>
          <p:spPr>
            <a:xfrm>
              <a:off x="1018866" y="1665683"/>
              <a:ext cx="28228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02</a:t>
              </a:r>
            </a:p>
          </p:txBody>
        </p:sp>
      </p:grpSp>
      <p:grpSp>
        <p:nvGrpSpPr>
          <p:cNvPr id="227" name="Rasterlinien"/>
          <p:cNvGrpSpPr/>
          <p:nvPr userDrawn="1"/>
        </p:nvGrpSpPr>
        <p:grpSpPr>
          <a:xfrm>
            <a:off x="0" y="0"/>
            <a:ext cx="9149070" cy="6852284"/>
            <a:chOff x="0" y="0"/>
            <a:chExt cx="9149070" cy="6852284"/>
          </a:xfrm>
        </p:grpSpPr>
        <p:cxnSp>
          <p:nvCxnSpPr>
            <p:cNvPr id="228" name="Gerader Verbinder 40"/>
            <p:cNvCxnSpPr/>
            <p:nvPr userDrawn="1"/>
          </p:nvCxnSpPr>
          <p:spPr>
            <a:xfrm>
              <a:off x="174434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9" name="Gerader Verbinder 41"/>
            <p:cNvCxnSpPr/>
            <p:nvPr userDrawn="1"/>
          </p:nvCxnSpPr>
          <p:spPr>
            <a:xfrm>
              <a:off x="302133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0" name="Gerader Verbinder 42"/>
            <p:cNvCxnSpPr/>
            <p:nvPr userDrawn="1"/>
          </p:nvCxnSpPr>
          <p:spPr>
            <a:xfrm>
              <a:off x="3202464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1" name="Gerader Verbinder 43"/>
            <p:cNvCxnSpPr/>
            <p:nvPr userDrawn="1"/>
          </p:nvCxnSpPr>
          <p:spPr>
            <a:xfrm>
              <a:off x="448071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2" name="Gerader Verbinder 44"/>
            <p:cNvCxnSpPr/>
            <p:nvPr userDrawn="1"/>
          </p:nvCxnSpPr>
          <p:spPr>
            <a:xfrm>
              <a:off x="465947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3" name="Gerader Verbinder 45"/>
            <p:cNvCxnSpPr/>
            <p:nvPr userDrawn="1"/>
          </p:nvCxnSpPr>
          <p:spPr>
            <a:xfrm>
              <a:off x="59390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4" name="Gerader Verbinder 46"/>
            <p:cNvCxnSpPr/>
            <p:nvPr userDrawn="1"/>
          </p:nvCxnSpPr>
          <p:spPr>
            <a:xfrm>
              <a:off x="6120130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5" name="Gerader Verbinder 47"/>
            <p:cNvCxnSpPr/>
            <p:nvPr userDrawn="1"/>
          </p:nvCxnSpPr>
          <p:spPr>
            <a:xfrm>
              <a:off x="73977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6" name="Gerader Verbinder 48"/>
            <p:cNvCxnSpPr/>
            <p:nvPr userDrawn="1"/>
          </p:nvCxnSpPr>
          <p:spPr>
            <a:xfrm>
              <a:off x="7576502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7" name="Gerader Verbinder 49"/>
            <p:cNvCxnSpPr/>
            <p:nvPr userDrawn="1"/>
          </p:nvCxnSpPr>
          <p:spPr>
            <a:xfrm>
              <a:off x="1564006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8" name="Gerader Verbinder 50"/>
            <p:cNvCxnSpPr/>
            <p:nvPr userDrawn="1"/>
          </p:nvCxnSpPr>
          <p:spPr>
            <a:xfrm>
              <a:off x="286703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9" name="Gerader Verbinder 51"/>
            <p:cNvCxnSpPr/>
            <p:nvPr userDrawn="1"/>
          </p:nvCxnSpPr>
          <p:spPr>
            <a:xfrm>
              <a:off x="885635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0" name="Gerader Verbinder 52"/>
            <p:cNvCxnSpPr/>
            <p:nvPr userDrawn="1"/>
          </p:nvCxnSpPr>
          <p:spPr>
            <a:xfrm>
              <a:off x="0" y="1034415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1" name="Gerader Verbinder 53"/>
            <p:cNvCxnSpPr/>
            <p:nvPr userDrawn="1"/>
          </p:nvCxnSpPr>
          <p:spPr>
            <a:xfrm>
              <a:off x="0" y="162083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2" name="Gerader Verbinder 54"/>
            <p:cNvCxnSpPr/>
            <p:nvPr userDrawn="1"/>
          </p:nvCxnSpPr>
          <p:spPr>
            <a:xfrm>
              <a:off x="0" y="22955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3" name="Gerader Verbinder 55"/>
            <p:cNvCxnSpPr/>
            <p:nvPr userDrawn="1"/>
          </p:nvCxnSpPr>
          <p:spPr>
            <a:xfrm>
              <a:off x="0" y="238649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4" name="Gerader Verbinder 56"/>
            <p:cNvCxnSpPr/>
            <p:nvPr userDrawn="1"/>
          </p:nvCxnSpPr>
          <p:spPr>
            <a:xfrm>
              <a:off x="0" y="306467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5" name="Gerader Verbinder 57"/>
            <p:cNvCxnSpPr/>
            <p:nvPr userDrawn="1"/>
          </p:nvCxnSpPr>
          <p:spPr>
            <a:xfrm>
              <a:off x="5070" y="315514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6" name="Gerader Verbinder 58"/>
            <p:cNvCxnSpPr/>
            <p:nvPr userDrawn="1"/>
          </p:nvCxnSpPr>
          <p:spPr>
            <a:xfrm>
              <a:off x="0" y="3831910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7" name="Gerader Verbinder 59"/>
            <p:cNvCxnSpPr/>
            <p:nvPr userDrawn="1"/>
          </p:nvCxnSpPr>
          <p:spPr>
            <a:xfrm>
              <a:off x="0" y="392032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8" name="Gerader Verbinder 60"/>
            <p:cNvCxnSpPr/>
            <p:nvPr userDrawn="1"/>
          </p:nvCxnSpPr>
          <p:spPr>
            <a:xfrm>
              <a:off x="0" y="459978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9" name="Gerader Verbinder 61"/>
            <p:cNvCxnSpPr/>
            <p:nvPr userDrawn="1"/>
          </p:nvCxnSpPr>
          <p:spPr>
            <a:xfrm>
              <a:off x="0" y="468773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0" name="Gerader Verbinder 62"/>
            <p:cNvCxnSpPr/>
            <p:nvPr userDrawn="1"/>
          </p:nvCxnSpPr>
          <p:spPr>
            <a:xfrm>
              <a:off x="0" y="53662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1" name="Gerader Verbinder 63"/>
            <p:cNvCxnSpPr/>
            <p:nvPr userDrawn="1"/>
          </p:nvCxnSpPr>
          <p:spPr>
            <a:xfrm>
              <a:off x="0" y="545544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2" name="Gerader Verbinder 64"/>
            <p:cNvCxnSpPr/>
            <p:nvPr userDrawn="1"/>
          </p:nvCxnSpPr>
          <p:spPr>
            <a:xfrm>
              <a:off x="0" y="613267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3" name="Gerader Verbinder 65"/>
            <p:cNvCxnSpPr/>
            <p:nvPr userDrawn="1"/>
          </p:nvCxnSpPr>
          <p:spPr>
            <a:xfrm>
              <a:off x="0" y="33623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54" name="Abstandsbox"/>
          <p:cNvGrpSpPr/>
          <p:nvPr userDrawn="1"/>
        </p:nvGrpSpPr>
        <p:grpSpPr>
          <a:xfrm>
            <a:off x="6967053" y="3831910"/>
            <a:ext cx="1902050" cy="742919"/>
            <a:chOff x="6967053" y="3831910"/>
            <a:chExt cx="1902050" cy="742919"/>
          </a:xfrm>
        </p:grpSpPr>
        <p:sp>
          <p:nvSpPr>
            <p:cNvPr id="255" name="Rechteckige Legende 124"/>
            <p:cNvSpPr/>
            <p:nvPr userDrawn="1"/>
          </p:nvSpPr>
          <p:spPr>
            <a:xfrm>
              <a:off x="6967053" y="4132501"/>
              <a:ext cx="1902050" cy="442328"/>
            </a:xfrm>
            <a:prstGeom prst="wedgeRoundRectCallout">
              <a:avLst>
                <a:gd name="adj1" fmla="val -23390"/>
                <a:gd name="adj2" fmla="val -87045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Horizontal distance: 0,5 cm</a:t>
              </a:r>
            </a:p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Vertical distance: 0,25 cm</a:t>
              </a:r>
            </a:p>
          </p:txBody>
        </p:sp>
        <p:sp>
          <p:nvSpPr>
            <p:cNvPr id="256" name="Rechteck 123"/>
            <p:cNvSpPr/>
            <p:nvPr userDrawn="1"/>
          </p:nvSpPr>
          <p:spPr>
            <a:xfrm>
              <a:off x="7399338" y="3831910"/>
              <a:ext cx="180000" cy="9032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cap="all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7" name="Mittelkreuz"/>
          <p:cNvGrpSpPr/>
          <p:nvPr userDrawn="1"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258" name="Mittellinie vertikal"/>
            <p:cNvCxnSpPr/>
            <p:nvPr userDrawn="1"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59" name="Mittellinie horizontal"/>
            <p:cNvCxnSpPr/>
            <p:nvPr userDrawn="1"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60" name="Rechteckige Legende 16"/>
            <p:cNvSpPr/>
            <p:nvPr userDrawn="1"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Distance of gridlines measured from cen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758449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7542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0" orient="horz" pos="2160" userDrawn="1">
          <p15:clr>
            <a:srgbClr val="FBAE40"/>
          </p15:clr>
        </p15:guide>
        <p15:guide id="1" pos="2880" userDrawn="1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7" name="Textplatzhalter 1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26859"/>
      </p:ext>
    </p:extLst>
  </p:cSld>
  <p:clrMapOvr>
    <a:masterClrMapping/>
  </p:clrMapOvr>
  <p:hf hdr="0" ftr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red head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4106"/>
            <a:ext cx="9144000" cy="4056469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144000" cy="542925"/>
          </a:xfrm>
          <a:solidFill>
            <a:schemeClr val="tx2"/>
          </a:solidFill>
          <a:ln>
            <a:noFill/>
          </a:ln>
        </p:spPr>
        <p:txBody>
          <a:bodyPr vert="horz" lIns="108000" tIns="108000" rIns="108000" bIns="0" rtlCol="0" anchor="ctr" anchorCtr="0">
            <a:noAutofit/>
          </a:bodyPr>
          <a:lstStyle>
            <a:lvl1pPr>
              <a:defRPr lang="de-DE" sz="2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platzhalter 1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2076"/>
      </p:ext>
    </p:extLst>
  </p:cSld>
  <p:clrMapOvr>
    <a:masterClrMapping/>
  </p:clrMapOvr>
  <p:hf hdr="0" ftr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5934075" cy="4605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5938838" y="1"/>
            <a:ext cx="3204781" cy="22986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8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5938838" y="2304288"/>
            <a:ext cx="3204781" cy="230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619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7"/>
            <a:ext cx="5641875" cy="4556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6EAA-2E8F-4E61-AFDE-41C2065B9385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21400" y="1627200"/>
            <a:ext cx="2738438" cy="22256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21400" y="3922713"/>
            <a:ext cx="2738438" cy="2225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15945404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1622424"/>
            <a:ext cx="8560062" cy="452008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0" rIns="108000" bIns="0" rtlCol="0" anchor="ctr" anchorCtr="0">
            <a:noAutofit/>
          </a:bodyPr>
          <a:lstStyle>
            <a:lvl1pPr marL="176213" indent="-176213">
              <a:lnSpc>
                <a:spcPct val="100000"/>
              </a:lnSpc>
              <a:spcAft>
                <a:spcPts val="600"/>
              </a:spcAft>
              <a:buSzPct val="100000"/>
              <a:buFont typeface="Arial" panose="020B0604020202020204" pitchFamily="34" charset="0"/>
              <a:buChar char="&gt;"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lvl="0"/>
            <a:r>
              <a:rPr lang="en-US" dirty="0"/>
              <a:t>Insert text for disclaim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940DD-8E32-4B2F-B442-F236D5130E44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3909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agenda/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D69A-4637-442F-95F4-2803350F1BCE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161925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925" y="1996440"/>
            <a:ext cx="8569325" cy="777240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sz="140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sub item or delete/rearrange text boxes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88925" y="281178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88925" y="3188970"/>
            <a:ext cx="8569325" cy="312038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marL="182563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>
                <a:tab pos="8428038" algn="r"/>
              </a:tabLst>
            </a:pPr>
            <a:r>
              <a:rPr lang="en-US" dirty="0"/>
              <a:t>Click to add sub item or delete/rearrange text boxes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88925" y="3543478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88925" y="3927003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4312557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88925" y="4689706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</p:spTree>
    <p:extLst>
      <p:ext uri="{BB962C8B-B14F-4D97-AF65-F5344CB8AC3E}">
        <p14:creationId xmlns:p14="http://schemas.microsoft.com/office/powerpoint/2010/main" val="47935635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600" y="2030400"/>
            <a:ext cx="5370411" cy="2002637"/>
          </a:xfrm>
        </p:spPr>
        <p:txBody>
          <a:bodyPr anchor="t"/>
          <a:lstStyle>
            <a:lvl1pPr algn="l">
              <a:lnSpc>
                <a:spcPct val="100000"/>
              </a:lnSpc>
              <a:defRPr sz="36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968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1151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1261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79289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438" y="2028825"/>
            <a:ext cx="3911600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20221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the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2900"/>
            <a:ext cx="9144000" cy="52390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9438" y="2028825"/>
            <a:ext cx="3902075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79437" y="495300"/>
            <a:ext cx="5864771" cy="542925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Insert contact data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96057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1600" y="1569600"/>
            <a:ext cx="8560062" cy="4572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5C2C-E9DE-45BD-A857-55AECF0C522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54378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/3 - red subtitle under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D5F1A-A1A0-46DE-AB45-63DA9AA4609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121400" y="1475259"/>
            <a:ext cx="2736850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91600" y="1475259"/>
            <a:ext cx="5654675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298518" y="2298700"/>
            <a:ext cx="5654675" cy="2591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482047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8E848-4BA0-46DA-B7E3-A8DA2E7F24E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91600" y="1575950"/>
            <a:ext cx="4192588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60900" y="1572775"/>
            <a:ext cx="4197350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710036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2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4192488" cy="4563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310B4-A1C2-4B60-B54E-E4BD04F93B7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59313" y="1627201"/>
            <a:ext cx="4187825" cy="220502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659313" y="3919789"/>
            <a:ext cx="4187825" cy="22206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65119317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7"/>
            <a:ext cx="5641875" cy="4556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6EAA-2E8F-4E61-AFDE-41C2065B938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21400" y="1627200"/>
            <a:ext cx="2738438" cy="22256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21400" y="3922713"/>
            <a:ext cx="2738438" cy="2225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986363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1" y="1575715"/>
            <a:ext cx="5648824" cy="455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F1FA-ABD1-40D0-8304-86742E155357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6121400" y="2298700"/>
            <a:ext cx="2747963" cy="3070226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aseline="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202981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1" y="1575715"/>
            <a:ext cx="5648824" cy="455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F1FA-ABD1-40D0-8304-86742E155357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6121400" y="2298700"/>
            <a:ext cx="2747963" cy="3070226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aseline="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058499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48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2C38B2-42F4-449C-91A0-4D87B86BED1D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3205163" y="1619250"/>
            <a:ext cx="5662052" cy="45148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225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319878056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E9BE2-A349-480E-9FA8-1B0465CE62E4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3209124" y="2298700"/>
            <a:ext cx="5649126" cy="35065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3203575" y="1627694"/>
            <a:ext cx="5654675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69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365487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- 2 objects -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4077073"/>
            <a:ext cx="8559700" cy="20633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20202-3F96-4633-97D4-EB6488CD0176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6121400" y="2298700"/>
            <a:ext cx="2736850" cy="1532351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291600" y="1627200"/>
            <a:ext cx="5651500" cy="22114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81096722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86975"/>
            <a:ext cx="4192488" cy="2245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F93E9-6D02-4271-9DE5-4C5F23ED8FD8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3919540"/>
            <a:ext cx="4187825" cy="220662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325439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4 - 1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88925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664138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5"/>
          </p:nvPr>
        </p:nvSpPr>
        <p:spPr>
          <a:xfrm>
            <a:off x="288925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6"/>
          </p:nvPr>
        </p:nvSpPr>
        <p:spPr>
          <a:xfrm>
            <a:off x="4664138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908503"/>
      </p:ext>
    </p:extLst>
  </p:cSld>
  <p:clrMapOvr>
    <a:masterClrMapping/>
  </p:clrMapOvr>
  <p:hf hdr="0" ftr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all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842FC-4472-4057-BF49-491306FF850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4605338"/>
            <a:ext cx="4187825" cy="152082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4"/>
          </p:nvPr>
        </p:nvSpPr>
        <p:spPr>
          <a:xfrm>
            <a:off x="290068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288521" y="162451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292100" y="2298700"/>
            <a:ext cx="4195763" cy="15287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600"/>
            </a:lvl1pPr>
            <a:lvl2pPr marL="361950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2pPr>
            <a:lvl3pPr marL="534988" indent="-173038">
              <a:lnSpc>
                <a:spcPct val="100000"/>
              </a:lnSpc>
              <a:spcBef>
                <a:spcPts val="600"/>
              </a:spcBef>
              <a:spcAft>
                <a:spcPts val="567"/>
              </a:spcAft>
              <a:buFont typeface="Wingdings" panose="05000000000000000000" pitchFamily="2" charset="2"/>
              <a:buChar char="§"/>
              <a:defRPr/>
            </a:lvl3pPr>
            <a:lvl4pPr marL="715963" indent="-180975">
              <a:buFont typeface="Wingdings" panose="05000000000000000000" pitchFamily="2" charset="2"/>
              <a:buChar char="§"/>
              <a:defRPr/>
            </a:lvl4pPr>
            <a:lvl5pPr marL="896938" indent="-180975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4508224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 1/1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E93F2-6651-4DAF-8D5B-5B67F320C31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2298701"/>
            <a:ext cx="8560062" cy="350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None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4950" y="5840561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4519"/>
            <a:ext cx="8568408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838530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-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767649914"/>
      </p:ext>
    </p:extLst>
  </p:cSld>
  <p:clrMapOvr>
    <a:masterClrMapping/>
  </p:clrMapOvr>
  <p:hf hdr="0" ftr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ictures 8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622425"/>
            <a:ext cx="1998000" cy="18538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0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86306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41" hasCustomPrompt="1"/>
          </p:nvPr>
        </p:nvSpPr>
        <p:spPr>
          <a:xfrm>
            <a:off x="290390" y="3919761"/>
            <a:ext cx="1998000" cy="18689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4" name="Bildplatzhalter 9"/>
          <p:cNvSpPr>
            <a:spLocks noGrp="1"/>
          </p:cNvSpPr>
          <p:nvPr>
            <p:ph type="pic" sz="quarter" idx="42" hasCustomPrompt="1"/>
          </p:nvPr>
        </p:nvSpPr>
        <p:spPr>
          <a:xfrm>
            <a:off x="6858553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4669268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2486306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9390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platzhalter 12"/>
          <p:cNvSpPr>
            <a:spLocks noGrp="1"/>
          </p:cNvSpPr>
          <p:nvPr>
            <p:ph type="body" sz="quarter" idx="45"/>
          </p:nvPr>
        </p:nvSpPr>
        <p:spPr>
          <a:xfrm>
            <a:off x="2498484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46"/>
          </p:nvPr>
        </p:nvSpPr>
        <p:spPr>
          <a:xfrm>
            <a:off x="4674908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47"/>
          </p:nvPr>
        </p:nvSpPr>
        <p:spPr>
          <a:xfrm>
            <a:off x="6881559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48"/>
          </p:nvPr>
        </p:nvSpPr>
        <p:spPr>
          <a:xfrm>
            <a:off x="299390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49"/>
          </p:nvPr>
        </p:nvSpPr>
        <p:spPr>
          <a:xfrm>
            <a:off x="2498484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50"/>
          </p:nvPr>
        </p:nvSpPr>
        <p:spPr>
          <a:xfrm>
            <a:off x="4674908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51"/>
          </p:nvPr>
        </p:nvSpPr>
        <p:spPr>
          <a:xfrm>
            <a:off x="6881559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7565249"/>
      </p:ext>
    </p:extLst>
  </p:cSld>
  <p:clrMapOvr>
    <a:masterClrMapping/>
  </p:clrMapOvr>
  <p:hf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48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2C38B2-42F4-449C-91A0-4D87B86BED1D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3205163" y="1619250"/>
            <a:ext cx="5662052" cy="45148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225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327934451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s 2 - 1/2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22F0-A202-4EA4-BC9B-1A86C5B7069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91600" y="2292853"/>
            <a:ext cx="4189913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7" hasCustomPrompt="1"/>
          </p:nvPr>
        </p:nvSpPr>
        <p:spPr>
          <a:xfrm>
            <a:off x="4664394" y="2292853"/>
            <a:ext cx="4186236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34490"/>
            <a:ext cx="0" cy="416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cxnSp>
        <p:nvCxnSpPr>
          <p:cNvPr id="13" name="Gerader Verbinder 6"/>
          <p:cNvCxnSpPr/>
          <p:nvPr/>
        </p:nvCxnSpPr>
        <p:spPr>
          <a:xfrm>
            <a:off x="4572000" y="1622138"/>
            <a:ext cx="0" cy="4499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74904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ress clippings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9" hasCustomPrompt="1"/>
          </p:nvPr>
        </p:nvSpPr>
        <p:spPr>
          <a:xfrm>
            <a:off x="291600" y="2289908"/>
            <a:ext cx="4194969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BBC96-FF81-41A2-A288-3AD332C2BB50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15281"/>
            <a:ext cx="0" cy="4192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11"/>
          <p:cNvSpPr>
            <a:spLocks noGrp="1"/>
          </p:cNvSpPr>
          <p:nvPr>
            <p:ph type="pic" sz="quarter" idx="20" hasCustomPrompt="1"/>
          </p:nvPr>
        </p:nvSpPr>
        <p:spPr>
          <a:xfrm>
            <a:off x="4660900" y="2289908"/>
            <a:ext cx="4202113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5851097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76231797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rganisational char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204046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6121400" y="3493638"/>
            <a:ext cx="2736000" cy="977000"/>
          </a:xfrm>
          <a:noFill/>
          <a:ln>
            <a:solidFill>
              <a:schemeClr val="accent4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310AA-847B-4063-A899-3FA7213427A7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842418"/>
            <a:ext cx="2736000" cy="655879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2842418"/>
            <a:ext cx="2736000" cy="65587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842418"/>
            <a:ext cx="2736000" cy="655879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7" name="Freihandform 16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9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ihandform 17"/>
          <p:cNvSpPr/>
          <p:nvPr userDrawn="1"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96461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text 4 - 1/4 grey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84950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03914" y="234656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03914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052F0-A65C-44FC-B982-E3D1FFB99B1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403913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Rechteck 22"/>
          <p:cNvSpPr/>
          <p:nvPr/>
        </p:nvSpPr>
        <p:spPr>
          <a:xfrm>
            <a:off x="4667169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786133" y="234656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786133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4786132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Rechteck 33"/>
          <p:cNvSpPr/>
          <p:nvPr/>
        </p:nvSpPr>
        <p:spPr>
          <a:xfrm>
            <a:off x="284950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3914" y="455492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3914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403913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Rechteck 37"/>
          <p:cNvSpPr/>
          <p:nvPr/>
        </p:nvSpPr>
        <p:spPr>
          <a:xfrm>
            <a:off x="4667169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786133" y="455492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786133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786132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61933148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288925" y="1619250"/>
            <a:ext cx="8569325" cy="45212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C11DA-F605-427D-918D-A0A0517F685E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91038" y="1620043"/>
            <a:ext cx="1809154" cy="1168028"/>
          </a:xfrm>
          <a:prstGeom prst="callout1">
            <a:avLst>
              <a:gd name="adj1" fmla="val -276"/>
              <a:gd name="adj2" fmla="val 331"/>
              <a:gd name="adj3" fmla="val 167493"/>
              <a:gd name="adj4" fmla="val 176"/>
            </a:avLst>
          </a:prstGeom>
          <a:ln w="6350">
            <a:solidFill>
              <a:schemeClr val="accent1"/>
            </a:solidFill>
          </a:ln>
        </p:spPr>
        <p:txBody>
          <a:bodyPr lIns="72000" tIns="0" rIns="7200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2pPr>
            <a:lvl3pPr marL="180975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400"/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52199508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2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5C694-0345-48C8-93B8-B4E4D0384586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feil nach rechts 6"/>
          <p:cNvSpPr/>
          <p:nvPr/>
        </p:nvSpPr>
        <p:spPr>
          <a:xfrm>
            <a:off x="288925" y="3393469"/>
            <a:ext cx="8569325" cy="635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96863" y="1612900"/>
            <a:ext cx="2579687" cy="1349375"/>
          </a:xfrm>
          <a:ln>
            <a:solidFill>
              <a:schemeClr val="accent1"/>
            </a:solidFill>
          </a:ln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95288" y="3573463"/>
            <a:ext cx="8083550" cy="26511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52983008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2 - text in 8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96AD8-12A9-485B-AC84-50DA55C4164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91600" y="3409749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2543475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91600" y="557543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91600" y="5142297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291600" y="4709160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/>
          </p:nvPr>
        </p:nvSpPr>
        <p:spPr>
          <a:xfrm>
            <a:off x="291600" y="427602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3842886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91600" y="2976612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2369503" y="3409749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2369503" y="2543475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2369503" y="557543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369503" y="5142297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25"/>
          </p:nvPr>
        </p:nvSpPr>
        <p:spPr>
          <a:xfrm>
            <a:off x="2369503" y="4709160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26"/>
          </p:nvPr>
        </p:nvSpPr>
        <p:spPr>
          <a:xfrm>
            <a:off x="2369503" y="427602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369503" y="3842886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369503" y="2976612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  <a:p>
            <a:pPr lvl="0"/>
            <a:endParaRPr lang="en-US" dirty="0"/>
          </a:p>
        </p:txBody>
      </p:sp>
      <p:pic>
        <p:nvPicPr>
          <p:cNvPr id="29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1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62477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bracket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ihandform 30"/>
          <p:cNvSpPr/>
          <p:nvPr/>
        </p:nvSpPr>
        <p:spPr>
          <a:xfrm>
            <a:off x="276225" y="3825753"/>
            <a:ext cx="8582025" cy="266700"/>
          </a:xfrm>
          <a:custGeom>
            <a:avLst/>
            <a:gdLst>
              <a:gd name="connsiteX0" fmla="*/ 0 w 8582025"/>
              <a:gd name="connsiteY0" fmla="*/ 0 h 266700"/>
              <a:gd name="connsiteX1" fmla="*/ 209550 w 8582025"/>
              <a:gd name="connsiteY1" fmla="*/ 266700 h 266700"/>
              <a:gd name="connsiteX2" fmla="*/ 8391525 w 8582025"/>
              <a:gd name="connsiteY2" fmla="*/ 266700 h 266700"/>
              <a:gd name="connsiteX3" fmla="*/ 8582025 w 8582025"/>
              <a:gd name="connsiteY3" fmla="*/ 9525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82025" h="266700">
                <a:moveTo>
                  <a:pt x="0" y="0"/>
                </a:moveTo>
                <a:lnTo>
                  <a:pt x="209550" y="266700"/>
                </a:lnTo>
                <a:lnTo>
                  <a:pt x="8391525" y="266700"/>
                </a:lnTo>
                <a:lnTo>
                  <a:pt x="8582025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88264-8DCA-42F2-B48F-891C7644940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1624184"/>
            <a:ext cx="2736000" cy="343022"/>
          </a:xfrm>
          <a:solidFill>
            <a:schemeClr val="accent2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1624184"/>
            <a:ext cx="2736000" cy="343022"/>
          </a:xfrm>
          <a:solidFill>
            <a:schemeClr val="accent1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1624184"/>
            <a:ext cx="2736000" cy="343022"/>
          </a:xfrm>
          <a:solidFill>
            <a:schemeClr val="accent4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>
          <a:xfrm>
            <a:off x="3194050" y="4556125"/>
            <a:ext cx="3610198" cy="1933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5" hasCustomPrompt="1"/>
          </p:nvPr>
        </p:nvSpPr>
        <p:spPr>
          <a:xfrm>
            <a:off x="2916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3650072" y="3924178"/>
            <a:ext cx="1874428" cy="343022"/>
          </a:xfrm>
          <a:solidFill>
            <a:schemeClr val="tx2"/>
          </a:solidFill>
        </p:spPr>
        <p:txBody>
          <a:bodyPr lIns="72000" tIns="0" rIns="7200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29" hasCustomPrompt="1"/>
          </p:nvPr>
        </p:nvSpPr>
        <p:spPr>
          <a:xfrm>
            <a:off x="3201854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7" name="Bildplatzhalter 14"/>
          <p:cNvSpPr>
            <a:spLocks noGrp="1"/>
          </p:cNvSpPr>
          <p:nvPr>
            <p:ph type="pic" sz="quarter" idx="30" hasCustomPrompt="1"/>
          </p:nvPr>
        </p:nvSpPr>
        <p:spPr>
          <a:xfrm>
            <a:off x="61209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1" hasCustomPrompt="1"/>
          </p:nvPr>
        </p:nvSpPr>
        <p:spPr>
          <a:xfrm>
            <a:off x="288925" y="6202790"/>
            <a:ext cx="27360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47639787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-columns 3 - text &amp; arrows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/>
          <p:cNvSpPr/>
          <p:nvPr/>
        </p:nvSpPr>
        <p:spPr>
          <a:xfrm>
            <a:off x="3197460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120683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6604987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hteck 9"/>
          <p:cNvSpPr/>
          <p:nvPr/>
        </p:nvSpPr>
        <p:spPr>
          <a:xfrm>
            <a:off x="291599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86600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1599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2"/>
          </p:nvPr>
        </p:nvSpPr>
        <p:spPr>
          <a:xfrm>
            <a:off x="781235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33"/>
          </p:nvPr>
        </p:nvSpPr>
        <p:spPr>
          <a:xfrm>
            <a:off x="3693111" y="1645884"/>
            <a:ext cx="2166753" cy="617538"/>
          </a:xfr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6164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36"/>
          </p:nvPr>
        </p:nvSpPr>
        <p:spPr>
          <a:xfrm>
            <a:off x="6118658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206578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126556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Freihandform 34"/>
          <p:cNvSpPr/>
          <p:nvPr/>
        </p:nvSpPr>
        <p:spPr>
          <a:xfrm>
            <a:off x="319386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Textfeld 6"/>
          <p:cNvSpPr txBox="1"/>
          <p:nvPr/>
        </p:nvSpPr>
        <p:spPr>
          <a:xfrm>
            <a:off x="269075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8" name="Textfeld 27"/>
          <p:cNvSpPr txBox="1"/>
          <p:nvPr/>
        </p:nvSpPr>
        <p:spPr>
          <a:xfrm>
            <a:off x="31932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1" name="Textfeld 43"/>
          <p:cNvSpPr txBox="1"/>
          <p:nvPr/>
        </p:nvSpPr>
        <p:spPr>
          <a:xfrm>
            <a:off x="61269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9" name="Freihandform 38"/>
          <p:cNvSpPr/>
          <p:nvPr/>
        </p:nvSpPr>
        <p:spPr>
          <a:xfrm>
            <a:off x="28302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Freihandform 39"/>
          <p:cNvSpPr/>
          <p:nvPr/>
        </p:nvSpPr>
        <p:spPr>
          <a:xfrm>
            <a:off x="611994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790931"/>
      </p:ext>
    </p:extLst>
  </p:cSld>
  <p:clrMapOvr>
    <a:masterClrMapping/>
  </p:clrMapOvr>
  <p:hf hdr="0" ftr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6259C-38AB-42F9-BFD7-FAEBE525E8C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4950" y="2503115"/>
            <a:ext cx="2729162" cy="349822"/>
          </a:xfrm>
          <a:solidFill>
            <a:schemeClr val="accent2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1250" y="2503115"/>
            <a:ext cx="2745439" cy="349822"/>
          </a:xfrm>
          <a:solidFill>
            <a:schemeClr val="accent1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503115"/>
            <a:ext cx="2727403" cy="349822"/>
          </a:xfrm>
          <a:solidFill>
            <a:schemeClr val="accent4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Gerader Verbinder 17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494112" y="2905125"/>
            <a:ext cx="2520000" cy="126682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2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494112" y="4467225"/>
            <a:ext cx="2520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6" name="Diagrammplatzhalter 7"/>
          <p:cNvSpPr>
            <a:spLocks noGrp="1"/>
          </p:cNvSpPr>
          <p:nvPr>
            <p:ph type="chart" sz="quarter" idx="28"/>
          </p:nvPr>
        </p:nvSpPr>
        <p:spPr>
          <a:xfrm>
            <a:off x="320125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Diagrammplatzhalter 7"/>
          <p:cNvSpPr>
            <a:spLocks noGrp="1"/>
          </p:cNvSpPr>
          <p:nvPr>
            <p:ph type="chart" sz="quarter" idx="29"/>
          </p:nvPr>
        </p:nvSpPr>
        <p:spPr>
          <a:xfrm>
            <a:off x="320125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0" name="Diagrammplatzhalter 7"/>
          <p:cNvSpPr>
            <a:spLocks noGrp="1"/>
          </p:cNvSpPr>
          <p:nvPr>
            <p:ph type="chart" sz="quarter" idx="30"/>
          </p:nvPr>
        </p:nvSpPr>
        <p:spPr>
          <a:xfrm>
            <a:off x="612140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31"/>
          </p:nvPr>
        </p:nvSpPr>
        <p:spPr>
          <a:xfrm>
            <a:off x="612140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2"/>
          </p:nvPr>
        </p:nvSpPr>
        <p:spPr>
          <a:xfrm rot="16200000">
            <a:off x="-304062" y="34726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33"/>
          </p:nvPr>
        </p:nvSpPr>
        <p:spPr>
          <a:xfrm rot="16200000">
            <a:off x="-304062" y="50347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3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32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5" name="Gerader Verbinder 17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4"/>
          <p:cNvCxnSpPr/>
          <p:nvPr userDrawn="1"/>
        </p:nvCxnSpPr>
        <p:spPr>
          <a:xfrm>
            <a:off x="288925" y="4288929"/>
            <a:ext cx="27328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7"/>
          <p:cNvCxnSpPr/>
          <p:nvPr userDrawn="1"/>
        </p:nvCxnSpPr>
        <p:spPr>
          <a:xfrm>
            <a:off x="3201250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1"/>
          <p:cNvCxnSpPr/>
          <p:nvPr userDrawn="1"/>
        </p:nvCxnSpPr>
        <p:spPr>
          <a:xfrm>
            <a:off x="6125425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04523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E9BE2-A349-480E-9FA8-1B0465CE62E4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3209124" y="2298700"/>
            <a:ext cx="5649126" cy="35065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3203575" y="1627694"/>
            <a:ext cx="5654675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69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30075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Gerader Verbinder 29"/>
          <p:cNvCxnSpPr/>
          <p:nvPr/>
        </p:nvCxnSpPr>
        <p:spPr>
          <a:xfrm>
            <a:off x="3483088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291600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291600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24929-C96C-4563-B23F-56BD00E51E1C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777263"/>
            <a:ext cx="2005200" cy="527912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spcBef>
                <a:spcPts val="0"/>
              </a:spcBef>
              <a:buFont typeface="Arial" panose="020B0604020202020204" pitchFamily="34" charset="0"/>
              <a:buNone/>
              <a:tabLst/>
              <a:defRPr lang="de-AT" sz="1200" cap="all" baseline="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cxnSp>
        <p:nvCxnSpPr>
          <p:cNvPr id="43" name="Gerader Verbinder 42"/>
          <p:cNvCxnSpPr/>
          <p:nvPr/>
        </p:nvCxnSpPr>
        <p:spPr>
          <a:xfrm>
            <a:off x="5669616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/>
        </p:nvCxnSpPr>
        <p:spPr>
          <a:xfrm>
            <a:off x="4583857" y="2295922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480885" y="2777263"/>
            <a:ext cx="2005200" cy="52791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4652585" y="2777263"/>
            <a:ext cx="2005200" cy="527912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6852382" y="2777263"/>
            <a:ext cx="2005200" cy="527912"/>
          </a:xfrm>
          <a:solidFill>
            <a:schemeClr val="accent3"/>
          </a:solidFill>
        </p:spPr>
        <p:txBody>
          <a:bodyPr wrap="square" lIns="72000" tIns="36000" rIns="72000" bIns="36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37"/>
          </p:nvPr>
        </p:nvSpPr>
        <p:spPr>
          <a:xfrm rot="16200000">
            <a:off x="-304062" y="3996475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38"/>
          </p:nvPr>
        </p:nvSpPr>
        <p:spPr>
          <a:xfrm rot="16200000">
            <a:off x="-257627" y="5512140"/>
            <a:ext cx="1174206" cy="132125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Diagrammplatzhalter 7"/>
          <p:cNvSpPr>
            <a:spLocks noGrp="1"/>
          </p:cNvSpPr>
          <p:nvPr>
            <p:ph type="chart" sz="quarter" idx="39"/>
          </p:nvPr>
        </p:nvSpPr>
        <p:spPr>
          <a:xfrm>
            <a:off x="24808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40"/>
          </p:nvPr>
        </p:nvSpPr>
        <p:spPr>
          <a:xfrm>
            <a:off x="24808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2" name="Diagrammplatzhalter 7"/>
          <p:cNvSpPr>
            <a:spLocks noGrp="1"/>
          </p:cNvSpPr>
          <p:nvPr>
            <p:ph type="chart" sz="quarter" idx="41"/>
          </p:nvPr>
        </p:nvSpPr>
        <p:spPr>
          <a:xfrm>
            <a:off x="46525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Diagrammplatzhalter 7"/>
          <p:cNvSpPr>
            <a:spLocks noGrp="1"/>
          </p:cNvSpPr>
          <p:nvPr>
            <p:ph type="chart" sz="quarter" idx="42"/>
          </p:nvPr>
        </p:nvSpPr>
        <p:spPr>
          <a:xfrm>
            <a:off x="46525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Diagrammplatzhalter 7"/>
          <p:cNvSpPr>
            <a:spLocks noGrp="1"/>
          </p:cNvSpPr>
          <p:nvPr>
            <p:ph type="chart" sz="quarter" idx="43"/>
          </p:nvPr>
        </p:nvSpPr>
        <p:spPr>
          <a:xfrm>
            <a:off x="6852382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6" name="Diagrammplatzhalter 7"/>
          <p:cNvSpPr>
            <a:spLocks noGrp="1"/>
          </p:cNvSpPr>
          <p:nvPr>
            <p:ph type="chart" sz="quarter" idx="44"/>
          </p:nvPr>
        </p:nvSpPr>
        <p:spPr>
          <a:xfrm>
            <a:off x="6852382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73" name="Freihandform 6"/>
          <p:cNvSpPr/>
          <p:nvPr/>
        </p:nvSpPr>
        <p:spPr>
          <a:xfrm>
            <a:off x="1291480" y="2560712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Freihandform 6"/>
          <p:cNvSpPr/>
          <p:nvPr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0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49" name="Freihandform 6"/>
          <p:cNvSpPr/>
          <p:nvPr userDrawn="1"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56" name="Gerader Verbinder 45"/>
          <p:cNvCxnSpPr/>
          <p:nvPr userDrawn="1"/>
        </p:nvCxnSpPr>
        <p:spPr>
          <a:xfrm>
            <a:off x="282732" y="4777937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3"/>
          <p:cNvCxnSpPr/>
          <p:nvPr userDrawn="1"/>
        </p:nvCxnSpPr>
        <p:spPr>
          <a:xfrm>
            <a:off x="2489199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/>
          <p:cNvCxnSpPr/>
          <p:nvPr userDrawn="1"/>
        </p:nvCxnSpPr>
        <p:spPr>
          <a:xfrm>
            <a:off x="4670424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61"/>
          <p:cNvCxnSpPr/>
          <p:nvPr userDrawn="1"/>
        </p:nvCxnSpPr>
        <p:spPr>
          <a:xfrm>
            <a:off x="6852382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135897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tur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8DBF8-6C51-44BC-AE2F-71860FCD3DEA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07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291600" y="2544763"/>
            <a:ext cx="2005200" cy="153007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78869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1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668813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858756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395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5005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27493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46817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9305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68534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71022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2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24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297711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AEBBD-AC5E-4698-A169-10AEF6D8758F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9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15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69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61172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1208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1262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8180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201780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8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207180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201573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50" name="Textplatzhalt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6133699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5" name="Rechteck 2"/>
          <p:cNvSpPr/>
          <p:nvPr userDrawn="1"/>
        </p:nvSpPr>
        <p:spPr>
          <a:xfrm>
            <a:off x="2875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1" name="Rechteck 43"/>
          <p:cNvSpPr/>
          <p:nvPr userDrawn="1"/>
        </p:nvSpPr>
        <p:spPr>
          <a:xfrm>
            <a:off x="61168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2" name="Rechteck 48"/>
          <p:cNvSpPr/>
          <p:nvPr userDrawn="1"/>
        </p:nvSpPr>
        <p:spPr>
          <a:xfrm>
            <a:off x="3197755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31414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8616D-BF26-4D2D-A112-267FD684263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6790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976824"/>
            <a:ext cx="19980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390" y="4780012"/>
            <a:ext cx="1980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30"/>
          </p:nvPr>
        </p:nvSpPr>
        <p:spPr>
          <a:xfrm>
            <a:off x="6854953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867553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4665668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4678268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2467592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71192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0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480192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4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1" name="Textplatzhalt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2491211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2" name="Textplatzhalter 12"/>
          <p:cNvSpPr>
            <a:spLocks noGrp="1"/>
          </p:cNvSpPr>
          <p:nvPr>
            <p:ph type="body" sz="quarter" idx="43" hasCustomPrompt="1"/>
          </p:nvPr>
        </p:nvSpPr>
        <p:spPr>
          <a:xfrm>
            <a:off x="468274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3" name="Textplatzhalter 12"/>
          <p:cNvSpPr>
            <a:spLocks noGrp="1"/>
          </p:cNvSpPr>
          <p:nvPr>
            <p:ph type="body" sz="quarter" idx="44" hasCustomPrompt="1"/>
          </p:nvPr>
        </p:nvSpPr>
        <p:spPr>
          <a:xfrm>
            <a:off x="686672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5" name="Rechteck 2"/>
          <p:cNvSpPr/>
          <p:nvPr userDrawn="1"/>
        </p:nvSpPr>
        <p:spPr>
          <a:xfrm>
            <a:off x="286790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6" name="Rechteck 22"/>
          <p:cNvSpPr/>
          <p:nvPr userDrawn="1"/>
        </p:nvSpPr>
        <p:spPr>
          <a:xfrm>
            <a:off x="6854953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7" name="Rechteck 27"/>
          <p:cNvSpPr/>
          <p:nvPr userDrawn="1"/>
        </p:nvSpPr>
        <p:spPr>
          <a:xfrm>
            <a:off x="4665668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8" name="Rechteck 33"/>
          <p:cNvSpPr/>
          <p:nvPr userDrawn="1"/>
        </p:nvSpPr>
        <p:spPr>
          <a:xfrm>
            <a:off x="2467592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66336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5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89366-5B56-499E-BA6A-1F79747195A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887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8887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67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7294567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7294567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7305367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7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7864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7864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7972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9"/>
          </p:nvPr>
        </p:nvSpPr>
        <p:spPr>
          <a:xfrm>
            <a:off x="20338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0338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7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0446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43"/>
          </p:nvPr>
        </p:nvSpPr>
        <p:spPr>
          <a:xfrm>
            <a:off x="553233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5532335" y="2093397"/>
            <a:ext cx="1569505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2" name="Diagrammplatzhalter 11"/>
          <p:cNvSpPr>
            <a:spLocks noGrp="1"/>
          </p:cNvSpPr>
          <p:nvPr>
            <p:ph type="chart" sz="quarter" idx="45"/>
          </p:nvPr>
        </p:nvSpPr>
        <p:spPr>
          <a:xfrm>
            <a:off x="554313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Rechteck 26"/>
          <p:cNvSpPr/>
          <p:nvPr/>
        </p:nvSpPr>
        <p:spPr>
          <a:xfrm>
            <a:off x="7294567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7864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0338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53233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2" name="Rechteck 2"/>
          <p:cNvSpPr/>
          <p:nvPr/>
        </p:nvSpPr>
        <p:spPr>
          <a:xfrm>
            <a:off x="28887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81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2" name="Textplatzhalter 12"/>
          <p:cNvSpPr>
            <a:spLocks noGrp="1"/>
          </p:cNvSpPr>
          <p:nvPr>
            <p:ph type="body" sz="quarter" idx="46" hasCustomPrompt="1"/>
          </p:nvPr>
        </p:nvSpPr>
        <p:spPr>
          <a:xfrm>
            <a:off x="2045347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3" name="Textplatzhalt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379857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4" name="Textplatzhalt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555180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5" name="Textplatzhalt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7312593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346037255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38"/>
          </p:nvPr>
        </p:nvSpPr>
        <p:spPr>
          <a:xfrm>
            <a:off x="292789" y="4292600"/>
            <a:ext cx="2528887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0E165-890C-4C3B-B00C-845BA0E51C31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40" y="1626434"/>
            <a:ext cx="2860694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594309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911889" y="1626434"/>
            <a:ext cx="320029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027363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5876144" y="1626434"/>
            <a:ext cx="297942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2912596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585802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6"/>
          <p:cNvSpPr>
            <a:spLocks noGrp="1"/>
          </p:cNvSpPr>
          <p:nvPr>
            <p:ph type="body" sz="quarter" idx="39"/>
          </p:nvPr>
        </p:nvSpPr>
        <p:spPr>
          <a:xfrm>
            <a:off x="3027363" y="4292600"/>
            <a:ext cx="2529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40"/>
          </p:nvPr>
        </p:nvSpPr>
        <p:spPr>
          <a:xfrm>
            <a:off x="5943091" y="4292600"/>
            <a:ext cx="2530800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46605891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7047E-3A29-4B71-A144-C980ADA2BDF1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2148229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805122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4451746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212021" y="1626434"/>
            <a:ext cx="240909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2286554" y="2568087"/>
            <a:ext cx="198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4397667" y="1626434"/>
            <a:ext cx="241400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219395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588224" y="1626434"/>
            <a:ext cx="2264631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6617908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53" name="Gerade Verbindung 52"/>
          <p:cNvCxnSpPr/>
          <p:nvPr/>
        </p:nvCxnSpPr>
        <p:spPr>
          <a:xfrm>
            <a:off x="435915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/>
        </p:nvCxnSpPr>
        <p:spPr>
          <a:xfrm>
            <a:off x="65253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41"/>
          </p:nvPr>
        </p:nvSpPr>
        <p:spPr>
          <a:xfrm>
            <a:off x="292789" y="4292600"/>
            <a:ext cx="1798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42"/>
          </p:nvPr>
        </p:nvSpPr>
        <p:spPr>
          <a:xfrm>
            <a:off x="2284054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43"/>
          </p:nvPr>
        </p:nvSpPr>
        <p:spPr>
          <a:xfrm>
            <a:off x="4454316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6624577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66141739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292789" y="4292600"/>
            <a:ext cx="145346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E2BAD-230E-4195-9428-DBCC11E6CF4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1708615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347975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7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3612039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1763758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1854127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511662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8" name="Gerade Verbindung 47"/>
          <p:cNvCxnSpPr/>
          <p:nvPr userDrawn="1"/>
        </p:nvCxnSpPr>
        <p:spPr>
          <a:xfrm>
            <a:off x="1747792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5259566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5369951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64" name="Gerade Verbindung 63"/>
          <p:cNvCxnSpPr/>
          <p:nvPr/>
        </p:nvCxnSpPr>
        <p:spPr>
          <a:xfrm>
            <a:off x="350609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 userDrawn="1"/>
        </p:nvCxnSpPr>
        <p:spPr>
          <a:xfrm>
            <a:off x="70227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12"/>
          <p:cNvSpPr>
            <a:spLocks noGrp="1"/>
          </p:cNvSpPr>
          <p:nvPr>
            <p:ph type="body" sz="quarter" idx="41"/>
          </p:nvPr>
        </p:nvSpPr>
        <p:spPr>
          <a:xfrm>
            <a:off x="7007469" y="1626434"/>
            <a:ext cx="184210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7" name="Gerade Verbindung 66"/>
          <p:cNvCxnSpPr/>
          <p:nvPr/>
        </p:nvCxnSpPr>
        <p:spPr>
          <a:xfrm>
            <a:off x="5264404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7127862" y="2568087"/>
            <a:ext cx="144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45"/>
          </p:nvPr>
        </p:nvSpPr>
        <p:spPr>
          <a:xfrm>
            <a:off x="1854171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46"/>
          </p:nvPr>
        </p:nvSpPr>
        <p:spPr>
          <a:xfrm>
            <a:off x="3605334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6"/>
          <p:cNvSpPr>
            <a:spLocks noGrp="1"/>
          </p:cNvSpPr>
          <p:nvPr>
            <p:ph type="body" sz="quarter" idx="47"/>
          </p:nvPr>
        </p:nvSpPr>
        <p:spPr>
          <a:xfrm>
            <a:off x="5365122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48"/>
          </p:nvPr>
        </p:nvSpPr>
        <p:spPr>
          <a:xfrm>
            <a:off x="7133537" y="4292600"/>
            <a:ext cx="1542919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8818975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DDFF4-A2AB-4764-A3CE-715580F2787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45989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3073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- 2 objects -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4077073"/>
            <a:ext cx="8559700" cy="20633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20202-3F96-4633-97D4-EB6488CD0176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6121400" y="2298700"/>
            <a:ext cx="2736850" cy="1532351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291600" y="1627200"/>
            <a:ext cx="5651500" cy="22114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135395401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gridlines - pls don'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Raster </a:t>
            </a:r>
            <a:r>
              <a:rPr lang="en-US" dirty="0" err="1"/>
              <a:t>nur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neuerlichen</a:t>
            </a:r>
            <a:r>
              <a:rPr lang="en-US" dirty="0"/>
              <a:t> </a:t>
            </a:r>
            <a:r>
              <a:rPr lang="en-US" dirty="0" err="1"/>
              <a:t>Ausrichtung</a:t>
            </a:r>
            <a:r>
              <a:rPr lang="en-US" dirty="0"/>
              <a:t> der </a:t>
            </a:r>
            <a:r>
              <a:rPr lang="en-US" dirty="0" err="1"/>
              <a:t>Hilfslinie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verwenden</a:t>
            </a:r>
            <a:r>
              <a:rPr lang="en-US" dirty="0"/>
              <a:t>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28B82-505B-44E6-AD30-0FE5D7FE48C8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Mittelkreuz"/>
          <p:cNvGrpSpPr/>
          <p:nvPr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37" name="Mittellinie vertikal"/>
            <p:cNvCxnSpPr/>
            <p:nvPr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9" name="Mittellinie horizontal"/>
            <p:cNvCxnSpPr/>
            <p:nvPr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99" name="Rechteckige Legende 16"/>
            <p:cNvSpPr/>
            <p:nvPr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 err="1">
                  <a:solidFill>
                    <a:prstClr val="black"/>
                  </a:solidFill>
                </a:rPr>
                <a:t>Abstand</a:t>
              </a:r>
              <a:r>
                <a:rPr lang="en-US" sz="1050" dirty="0">
                  <a:solidFill>
                    <a:prstClr val="black"/>
                  </a:solidFill>
                </a:rPr>
                <a:t> der </a:t>
              </a:r>
              <a:r>
                <a:rPr lang="en-US" sz="1050" dirty="0" err="1">
                  <a:solidFill>
                    <a:prstClr val="black"/>
                  </a:solidFill>
                </a:rPr>
                <a:t>Hilfslinien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vom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Mittelpunkt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weg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gemessen</a:t>
              </a:r>
              <a:endParaRPr lang="en-US" sz="105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93" name="Links horizontal"/>
          <p:cNvGrpSpPr/>
          <p:nvPr userDrawn="1"/>
        </p:nvGrpSpPr>
        <p:grpSpPr>
          <a:xfrm>
            <a:off x="284950" y="1862906"/>
            <a:ext cx="4372144" cy="1153658"/>
            <a:chOff x="284950" y="1862906"/>
            <a:chExt cx="4372144" cy="1153658"/>
          </a:xfrm>
        </p:grpSpPr>
        <p:cxnSp>
          <p:nvCxnSpPr>
            <p:cNvPr id="94" name="Gerade Verbindung mit Pfeil 6"/>
            <p:cNvCxnSpPr/>
            <p:nvPr/>
          </p:nvCxnSpPr>
          <p:spPr>
            <a:xfrm flipH="1">
              <a:off x="4483100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5" name="Textfeld 15"/>
            <p:cNvSpPr txBox="1"/>
            <p:nvPr userDrawn="1"/>
          </p:nvSpPr>
          <p:spPr>
            <a:xfrm>
              <a:off x="4270450" y="2801120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25</a:t>
              </a:r>
            </a:p>
          </p:txBody>
        </p:sp>
        <p:cxnSp>
          <p:nvCxnSpPr>
            <p:cNvPr id="96" name="Gerade Verbindung mit Pfeil 35"/>
            <p:cNvCxnSpPr/>
            <p:nvPr userDrawn="1"/>
          </p:nvCxnSpPr>
          <p:spPr>
            <a:xfrm flipH="1">
              <a:off x="3205163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7" name="Textfeld 90"/>
            <p:cNvSpPr txBox="1"/>
            <p:nvPr userDrawn="1"/>
          </p:nvSpPr>
          <p:spPr>
            <a:xfrm flipH="1">
              <a:off x="3377476" y="2610619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8</a:t>
              </a:r>
            </a:p>
          </p:txBody>
        </p:sp>
        <p:cxnSp>
          <p:nvCxnSpPr>
            <p:cNvPr id="98" name="Gerade Verbindung mit Pfeil 37"/>
            <p:cNvCxnSpPr/>
            <p:nvPr userDrawn="1"/>
          </p:nvCxnSpPr>
          <p:spPr>
            <a:xfrm flipH="1">
              <a:off x="302260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9" name="Textfeld 77"/>
            <p:cNvSpPr txBox="1"/>
            <p:nvPr userDrawn="1"/>
          </p:nvSpPr>
          <p:spPr>
            <a:xfrm>
              <a:off x="3213008" y="2467744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4,3</a:t>
              </a:r>
            </a:p>
          </p:txBody>
        </p:sp>
        <p:cxnSp>
          <p:nvCxnSpPr>
            <p:cNvPr id="100" name="Gerade Verbindung mit Pfeil 66"/>
            <p:cNvCxnSpPr/>
            <p:nvPr userDrawn="1"/>
          </p:nvCxnSpPr>
          <p:spPr>
            <a:xfrm flipH="1">
              <a:off x="174625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1" name="Textfeld 76"/>
            <p:cNvSpPr txBox="1"/>
            <p:nvPr userDrawn="1"/>
          </p:nvSpPr>
          <p:spPr>
            <a:xfrm>
              <a:off x="1965875" y="2120081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85</a:t>
              </a:r>
            </a:p>
          </p:txBody>
        </p:sp>
        <p:cxnSp>
          <p:nvCxnSpPr>
            <p:cNvPr id="102" name="Gerade Verbindung mit Pfeil 67"/>
            <p:cNvCxnSpPr/>
            <p:nvPr userDrawn="1"/>
          </p:nvCxnSpPr>
          <p:spPr>
            <a:xfrm flipH="1">
              <a:off x="1567181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3" name="Textfeld 75"/>
            <p:cNvSpPr txBox="1"/>
            <p:nvPr userDrawn="1"/>
          </p:nvSpPr>
          <p:spPr>
            <a:xfrm>
              <a:off x="1711781" y="1991494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8,35</a:t>
              </a:r>
            </a:p>
          </p:txBody>
        </p:sp>
        <p:cxnSp>
          <p:nvCxnSpPr>
            <p:cNvPr id="104" name="Gerade Verbindung mit Pfeil 68"/>
            <p:cNvCxnSpPr/>
            <p:nvPr userDrawn="1"/>
          </p:nvCxnSpPr>
          <p:spPr>
            <a:xfrm flipH="1">
              <a:off x="28495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17" name="Textfeld 74"/>
            <p:cNvSpPr txBox="1"/>
            <p:nvPr userDrawn="1"/>
          </p:nvSpPr>
          <p:spPr>
            <a:xfrm>
              <a:off x="468488" y="1862906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1,9</a:t>
              </a:r>
            </a:p>
          </p:txBody>
        </p:sp>
      </p:grpSp>
      <p:grpSp>
        <p:nvGrpSpPr>
          <p:cNvPr id="118" name="Rechts horizontal"/>
          <p:cNvGrpSpPr/>
          <p:nvPr userDrawn="1"/>
        </p:nvGrpSpPr>
        <p:grpSpPr>
          <a:xfrm>
            <a:off x="4570080" y="1862906"/>
            <a:ext cx="4285466" cy="1153658"/>
            <a:chOff x="4570080" y="1862906"/>
            <a:chExt cx="4285466" cy="1153658"/>
          </a:xfrm>
        </p:grpSpPr>
        <p:cxnSp>
          <p:nvCxnSpPr>
            <p:cNvPr id="119" name="Gerade Verbindung mit Pfeil 84"/>
            <p:cNvCxnSpPr/>
            <p:nvPr userDrawn="1"/>
          </p:nvCxnSpPr>
          <p:spPr>
            <a:xfrm>
              <a:off x="457008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0" name="Textfeld 86"/>
            <p:cNvSpPr txBox="1"/>
            <p:nvPr userDrawn="1"/>
          </p:nvSpPr>
          <p:spPr>
            <a:xfrm flipH="1">
              <a:off x="8220426" y="1862906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11,9</a:t>
              </a:r>
            </a:p>
          </p:txBody>
        </p:sp>
        <p:cxnSp>
          <p:nvCxnSpPr>
            <p:cNvPr id="121" name="Gerade Verbindung mit Pfeil 83"/>
            <p:cNvCxnSpPr/>
            <p:nvPr userDrawn="1"/>
          </p:nvCxnSpPr>
          <p:spPr>
            <a:xfrm>
              <a:off x="4570080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2" name="Textfeld 87"/>
            <p:cNvSpPr txBox="1"/>
            <p:nvPr userDrawn="1"/>
          </p:nvSpPr>
          <p:spPr>
            <a:xfrm flipH="1">
              <a:off x="7006560" y="1991494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8,35</a:t>
              </a:r>
            </a:p>
          </p:txBody>
        </p:sp>
        <p:cxnSp>
          <p:nvCxnSpPr>
            <p:cNvPr id="123" name="Gerade Verbindung mit Pfeil 82"/>
            <p:cNvCxnSpPr/>
            <p:nvPr userDrawn="1"/>
          </p:nvCxnSpPr>
          <p:spPr>
            <a:xfrm>
              <a:off x="457008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7" name="Textfeld 88"/>
            <p:cNvSpPr txBox="1"/>
            <p:nvPr userDrawn="1"/>
          </p:nvSpPr>
          <p:spPr>
            <a:xfrm flipH="1">
              <a:off x="6726441" y="2120081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7,85</a:t>
              </a:r>
            </a:p>
          </p:txBody>
        </p:sp>
        <p:cxnSp>
          <p:nvCxnSpPr>
            <p:cNvPr id="130" name="Gerade Verbindung mit Pfeil 81"/>
            <p:cNvCxnSpPr/>
            <p:nvPr userDrawn="1"/>
          </p:nvCxnSpPr>
          <p:spPr>
            <a:xfrm>
              <a:off x="457008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1" name="Textfeld 89"/>
            <p:cNvSpPr txBox="1"/>
            <p:nvPr userDrawn="1"/>
          </p:nvSpPr>
          <p:spPr>
            <a:xfrm flipH="1">
              <a:off x="5550235" y="2467744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4,3</a:t>
              </a:r>
            </a:p>
          </p:txBody>
        </p:sp>
        <p:cxnSp>
          <p:nvCxnSpPr>
            <p:cNvPr id="166" name="Gerade Verbindung mit Pfeil 80"/>
            <p:cNvCxnSpPr/>
            <p:nvPr userDrawn="1"/>
          </p:nvCxnSpPr>
          <p:spPr>
            <a:xfrm>
              <a:off x="4570080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4" name="Textfeld 90"/>
            <p:cNvSpPr txBox="1"/>
            <p:nvPr userDrawn="1"/>
          </p:nvSpPr>
          <p:spPr>
            <a:xfrm flipH="1">
              <a:off x="5336325" y="2610619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3,8</a:t>
              </a:r>
            </a:p>
          </p:txBody>
        </p:sp>
        <p:cxnSp>
          <p:nvCxnSpPr>
            <p:cNvPr id="186" name="Gerade Verbindung mit Pfeil 79"/>
            <p:cNvCxnSpPr/>
            <p:nvPr userDrawn="1"/>
          </p:nvCxnSpPr>
          <p:spPr>
            <a:xfrm>
              <a:off x="4581832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7" name="Textfeld 85"/>
            <p:cNvSpPr txBox="1"/>
            <p:nvPr userDrawn="1"/>
          </p:nvSpPr>
          <p:spPr>
            <a:xfrm flipH="1">
              <a:off x="4570080" y="2801120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0,25</a:t>
              </a:r>
            </a:p>
          </p:txBody>
        </p:sp>
      </p:grpSp>
      <p:grpSp>
        <p:nvGrpSpPr>
          <p:cNvPr id="201" name="Unten vertikal"/>
          <p:cNvGrpSpPr/>
          <p:nvPr userDrawn="1"/>
        </p:nvGrpSpPr>
        <p:grpSpPr>
          <a:xfrm>
            <a:off x="1928739" y="3429000"/>
            <a:ext cx="979652" cy="2706853"/>
            <a:chOff x="1928739" y="3429000"/>
            <a:chExt cx="979652" cy="2706853"/>
          </a:xfrm>
        </p:grpSpPr>
        <p:cxnSp>
          <p:nvCxnSpPr>
            <p:cNvPr id="202" name="Gerade Verbindung mit Pfeil 102"/>
            <p:cNvCxnSpPr/>
            <p:nvPr userDrawn="1"/>
          </p:nvCxnSpPr>
          <p:spPr>
            <a:xfrm>
              <a:off x="2875434" y="3429000"/>
              <a:ext cx="0" cy="270685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3" name="Textfeld 116"/>
            <p:cNvSpPr txBox="1"/>
            <p:nvPr userDrawn="1"/>
          </p:nvSpPr>
          <p:spPr>
            <a:xfrm>
              <a:off x="1928739" y="3466610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12</a:t>
              </a:r>
            </a:p>
          </p:txBody>
        </p:sp>
        <p:cxnSp>
          <p:nvCxnSpPr>
            <p:cNvPr id="204" name="Gerade Verbindung mit Pfeil 96"/>
            <p:cNvCxnSpPr/>
            <p:nvPr userDrawn="1"/>
          </p:nvCxnSpPr>
          <p:spPr>
            <a:xfrm>
              <a:off x="2011185" y="3429000"/>
              <a:ext cx="0" cy="40291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5" name="Textfeld 117"/>
            <p:cNvSpPr txBox="1"/>
            <p:nvPr userDrawn="1"/>
          </p:nvSpPr>
          <p:spPr>
            <a:xfrm>
              <a:off x="2096786" y="363437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37</a:t>
              </a:r>
            </a:p>
          </p:txBody>
        </p:sp>
        <p:cxnSp>
          <p:nvCxnSpPr>
            <p:cNvPr id="206" name="Gerade Verbindung mit Pfeil 97"/>
            <p:cNvCxnSpPr/>
            <p:nvPr userDrawn="1"/>
          </p:nvCxnSpPr>
          <p:spPr>
            <a:xfrm>
              <a:off x="2165335" y="3429000"/>
              <a:ext cx="0" cy="4937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7" name="Textfeld 118"/>
            <p:cNvSpPr txBox="1"/>
            <p:nvPr/>
          </p:nvSpPr>
          <p:spPr>
            <a:xfrm>
              <a:off x="2115836" y="43265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25</a:t>
              </a:r>
            </a:p>
          </p:txBody>
        </p:sp>
        <p:cxnSp>
          <p:nvCxnSpPr>
            <p:cNvPr id="208" name="Gerade Verbindung mit Pfeil 98"/>
            <p:cNvCxnSpPr/>
            <p:nvPr userDrawn="1"/>
          </p:nvCxnSpPr>
          <p:spPr>
            <a:xfrm>
              <a:off x="2319485" y="3429000"/>
              <a:ext cx="0" cy="117395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9" name="Textfeld 119"/>
            <p:cNvSpPr txBox="1"/>
            <p:nvPr userDrawn="1"/>
          </p:nvSpPr>
          <p:spPr>
            <a:xfrm>
              <a:off x="2395236" y="44408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5</a:t>
              </a:r>
            </a:p>
          </p:txBody>
        </p:sp>
        <p:cxnSp>
          <p:nvCxnSpPr>
            <p:cNvPr id="210" name="Gerade Verbindung mit Pfeil 99"/>
            <p:cNvCxnSpPr/>
            <p:nvPr userDrawn="1"/>
          </p:nvCxnSpPr>
          <p:spPr>
            <a:xfrm>
              <a:off x="2473635" y="3429000"/>
              <a:ext cx="0" cy="126206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1" name="Textfeld 120"/>
            <p:cNvSpPr txBox="1"/>
            <p:nvPr userDrawn="1"/>
          </p:nvSpPr>
          <p:spPr>
            <a:xfrm>
              <a:off x="2420255" y="504170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38</a:t>
              </a:r>
            </a:p>
          </p:txBody>
        </p:sp>
        <p:cxnSp>
          <p:nvCxnSpPr>
            <p:cNvPr id="212" name="Gerade Verbindung mit Pfeil 100"/>
            <p:cNvCxnSpPr/>
            <p:nvPr userDrawn="1"/>
          </p:nvCxnSpPr>
          <p:spPr>
            <a:xfrm>
              <a:off x="2627784" y="3429000"/>
              <a:ext cx="0" cy="19415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3" name="Textfeld 121"/>
            <p:cNvSpPr txBox="1"/>
            <p:nvPr userDrawn="1"/>
          </p:nvSpPr>
          <p:spPr>
            <a:xfrm>
              <a:off x="2686955" y="520176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63</a:t>
              </a:r>
            </a:p>
          </p:txBody>
        </p:sp>
        <p:cxnSp>
          <p:nvCxnSpPr>
            <p:cNvPr id="214" name="Gerade Verbindung mit Pfeil 101"/>
            <p:cNvCxnSpPr/>
            <p:nvPr userDrawn="1"/>
          </p:nvCxnSpPr>
          <p:spPr>
            <a:xfrm>
              <a:off x="2756371" y="3429000"/>
              <a:ext cx="0" cy="203200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5" name="Textfeld 122"/>
            <p:cNvSpPr txBox="1"/>
            <p:nvPr userDrawn="1"/>
          </p:nvSpPr>
          <p:spPr>
            <a:xfrm>
              <a:off x="2655205" y="590661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51</a:t>
              </a:r>
            </a:p>
          </p:txBody>
        </p:sp>
      </p:grpSp>
      <p:grpSp>
        <p:nvGrpSpPr>
          <p:cNvPr id="216" name="Oben vertikal"/>
          <p:cNvGrpSpPr/>
          <p:nvPr userDrawn="1"/>
        </p:nvGrpSpPr>
        <p:grpSpPr>
          <a:xfrm>
            <a:off x="417195" y="1622737"/>
            <a:ext cx="883952" cy="1806266"/>
            <a:chOff x="417195" y="1622737"/>
            <a:chExt cx="883952" cy="1806266"/>
          </a:xfrm>
        </p:grpSpPr>
        <p:cxnSp>
          <p:nvCxnSpPr>
            <p:cNvPr id="217" name="Gerade Verbindung mit Pfeil 22"/>
            <p:cNvCxnSpPr/>
            <p:nvPr/>
          </p:nvCxnSpPr>
          <p:spPr>
            <a:xfrm flipV="1">
              <a:off x="656527" y="3157525"/>
              <a:ext cx="0" cy="27147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8" name="Textfeld 78"/>
            <p:cNvSpPr txBox="1"/>
            <p:nvPr userDrawn="1"/>
          </p:nvSpPr>
          <p:spPr>
            <a:xfrm>
              <a:off x="417195" y="3276985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76</a:t>
              </a:r>
            </a:p>
          </p:txBody>
        </p:sp>
        <p:cxnSp>
          <p:nvCxnSpPr>
            <p:cNvPr id="219" name="Gerade Verbindung mit Pfeil 92"/>
            <p:cNvCxnSpPr/>
            <p:nvPr userDrawn="1"/>
          </p:nvCxnSpPr>
          <p:spPr>
            <a:xfrm flipV="1">
              <a:off x="810677" y="3066100"/>
              <a:ext cx="0" cy="362901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0" name="Textfeld 103"/>
            <p:cNvSpPr txBox="1"/>
            <p:nvPr userDrawn="1"/>
          </p:nvSpPr>
          <p:spPr>
            <a:xfrm>
              <a:off x="738031" y="3175385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01</a:t>
              </a:r>
            </a:p>
          </p:txBody>
        </p:sp>
        <p:cxnSp>
          <p:nvCxnSpPr>
            <p:cNvPr id="221" name="Gerade Verbindung mit Pfeil 93"/>
            <p:cNvCxnSpPr/>
            <p:nvPr userDrawn="1"/>
          </p:nvCxnSpPr>
          <p:spPr>
            <a:xfrm flipV="1">
              <a:off x="964827" y="2388396"/>
              <a:ext cx="0" cy="104060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2" name="Textfeld 112"/>
            <p:cNvSpPr txBox="1"/>
            <p:nvPr userDrawn="1"/>
          </p:nvSpPr>
          <p:spPr>
            <a:xfrm>
              <a:off x="738859" y="25991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2,89</a:t>
              </a:r>
            </a:p>
          </p:txBody>
        </p:sp>
        <p:cxnSp>
          <p:nvCxnSpPr>
            <p:cNvPr id="223" name="Gerade Verbindung mit Pfeil 94"/>
            <p:cNvCxnSpPr/>
            <p:nvPr userDrawn="1"/>
          </p:nvCxnSpPr>
          <p:spPr>
            <a:xfrm flipV="1">
              <a:off x="1118977" y="2295525"/>
              <a:ext cx="0" cy="1133477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4" name="Textfeld 113"/>
            <p:cNvSpPr txBox="1"/>
            <p:nvPr userDrawn="1"/>
          </p:nvSpPr>
          <p:spPr>
            <a:xfrm>
              <a:off x="1048124" y="24340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14</a:t>
              </a:r>
            </a:p>
          </p:txBody>
        </p:sp>
        <p:cxnSp>
          <p:nvCxnSpPr>
            <p:cNvPr id="225" name="Gerade Verbindung mit Pfeil 95"/>
            <p:cNvCxnSpPr/>
            <p:nvPr userDrawn="1"/>
          </p:nvCxnSpPr>
          <p:spPr>
            <a:xfrm flipV="1">
              <a:off x="1273126" y="1622737"/>
              <a:ext cx="0" cy="180626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6" name="Textfeld 115"/>
            <p:cNvSpPr txBox="1"/>
            <p:nvPr/>
          </p:nvSpPr>
          <p:spPr>
            <a:xfrm>
              <a:off x="1018866" y="1665683"/>
              <a:ext cx="28228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02</a:t>
              </a:r>
            </a:p>
          </p:txBody>
        </p:sp>
      </p:grpSp>
      <p:grpSp>
        <p:nvGrpSpPr>
          <p:cNvPr id="227" name="Rasterlinien"/>
          <p:cNvGrpSpPr/>
          <p:nvPr userDrawn="1"/>
        </p:nvGrpSpPr>
        <p:grpSpPr>
          <a:xfrm>
            <a:off x="0" y="0"/>
            <a:ext cx="9149070" cy="6852284"/>
            <a:chOff x="0" y="0"/>
            <a:chExt cx="9149070" cy="6852284"/>
          </a:xfrm>
        </p:grpSpPr>
        <p:cxnSp>
          <p:nvCxnSpPr>
            <p:cNvPr id="228" name="Gerader Verbinder 40"/>
            <p:cNvCxnSpPr/>
            <p:nvPr userDrawn="1"/>
          </p:nvCxnSpPr>
          <p:spPr>
            <a:xfrm>
              <a:off x="174434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9" name="Gerader Verbinder 41"/>
            <p:cNvCxnSpPr/>
            <p:nvPr userDrawn="1"/>
          </p:nvCxnSpPr>
          <p:spPr>
            <a:xfrm>
              <a:off x="302133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0" name="Gerader Verbinder 42"/>
            <p:cNvCxnSpPr/>
            <p:nvPr userDrawn="1"/>
          </p:nvCxnSpPr>
          <p:spPr>
            <a:xfrm>
              <a:off x="3202464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1" name="Gerader Verbinder 43"/>
            <p:cNvCxnSpPr/>
            <p:nvPr userDrawn="1"/>
          </p:nvCxnSpPr>
          <p:spPr>
            <a:xfrm>
              <a:off x="448071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2" name="Gerader Verbinder 44"/>
            <p:cNvCxnSpPr/>
            <p:nvPr userDrawn="1"/>
          </p:nvCxnSpPr>
          <p:spPr>
            <a:xfrm>
              <a:off x="465947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3" name="Gerader Verbinder 45"/>
            <p:cNvCxnSpPr/>
            <p:nvPr userDrawn="1"/>
          </p:nvCxnSpPr>
          <p:spPr>
            <a:xfrm>
              <a:off x="59390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4" name="Gerader Verbinder 46"/>
            <p:cNvCxnSpPr/>
            <p:nvPr userDrawn="1"/>
          </p:nvCxnSpPr>
          <p:spPr>
            <a:xfrm>
              <a:off x="6120130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5" name="Gerader Verbinder 47"/>
            <p:cNvCxnSpPr/>
            <p:nvPr userDrawn="1"/>
          </p:nvCxnSpPr>
          <p:spPr>
            <a:xfrm>
              <a:off x="73977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6" name="Gerader Verbinder 48"/>
            <p:cNvCxnSpPr/>
            <p:nvPr userDrawn="1"/>
          </p:nvCxnSpPr>
          <p:spPr>
            <a:xfrm>
              <a:off x="7576502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7" name="Gerader Verbinder 49"/>
            <p:cNvCxnSpPr/>
            <p:nvPr userDrawn="1"/>
          </p:nvCxnSpPr>
          <p:spPr>
            <a:xfrm>
              <a:off x="1564006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8" name="Gerader Verbinder 50"/>
            <p:cNvCxnSpPr/>
            <p:nvPr userDrawn="1"/>
          </p:nvCxnSpPr>
          <p:spPr>
            <a:xfrm>
              <a:off x="286703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9" name="Gerader Verbinder 51"/>
            <p:cNvCxnSpPr/>
            <p:nvPr userDrawn="1"/>
          </p:nvCxnSpPr>
          <p:spPr>
            <a:xfrm>
              <a:off x="885635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0" name="Gerader Verbinder 52"/>
            <p:cNvCxnSpPr/>
            <p:nvPr userDrawn="1"/>
          </p:nvCxnSpPr>
          <p:spPr>
            <a:xfrm>
              <a:off x="0" y="1034415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1" name="Gerader Verbinder 53"/>
            <p:cNvCxnSpPr/>
            <p:nvPr userDrawn="1"/>
          </p:nvCxnSpPr>
          <p:spPr>
            <a:xfrm>
              <a:off x="0" y="162083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2" name="Gerader Verbinder 54"/>
            <p:cNvCxnSpPr/>
            <p:nvPr userDrawn="1"/>
          </p:nvCxnSpPr>
          <p:spPr>
            <a:xfrm>
              <a:off x="0" y="22955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3" name="Gerader Verbinder 55"/>
            <p:cNvCxnSpPr/>
            <p:nvPr userDrawn="1"/>
          </p:nvCxnSpPr>
          <p:spPr>
            <a:xfrm>
              <a:off x="0" y="238649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4" name="Gerader Verbinder 56"/>
            <p:cNvCxnSpPr/>
            <p:nvPr userDrawn="1"/>
          </p:nvCxnSpPr>
          <p:spPr>
            <a:xfrm>
              <a:off x="0" y="306467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5" name="Gerader Verbinder 57"/>
            <p:cNvCxnSpPr/>
            <p:nvPr userDrawn="1"/>
          </p:nvCxnSpPr>
          <p:spPr>
            <a:xfrm>
              <a:off x="5070" y="315514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6" name="Gerader Verbinder 58"/>
            <p:cNvCxnSpPr/>
            <p:nvPr userDrawn="1"/>
          </p:nvCxnSpPr>
          <p:spPr>
            <a:xfrm>
              <a:off x="0" y="3831910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7" name="Gerader Verbinder 59"/>
            <p:cNvCxnSpPr/>
            <p:nvPr userDrawn="1"/>
          </p:nvCxnSpPr>
          <p:spPr>
            <a:xfrm>
              <a:off x="0" y="392032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8" name="Gerader Verbinder 60"/>
            <p:cNvCxnSpPr/>
            <p:nvPr userDrawn="1"/>
          </p:nvCxnSpPr>
          <p:spPr>
            <a:xfrm>
              <a:off x="0" y="459978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9" name="Gerader Verbinder 61"/>
            <p:cNvCxnSpPr/>
            <p:nvPr userDrawn="1"/>
          </p:nvCxnSpPr>
          <p:spPr>
            <a:xfrm>
              <a:off x="0" y="468773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0" name="Gerader Verbinder 62"/>
            <p:cNvCxnSpPr/>
            <p:nvPr userDrawn="1"/>
          </p:nvCxnSpPr>
          <p:spPr>
            <a:xfrm>
              <a:off x="0" y="53662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1" name="Gerader Verbinder 63"/>
            <p:cNvCxnSpPr/>
            <p:nvPr userDrawn="1"/>
          </p:nvCxnSpPr>
          <p:spPr>
            <a:xfrm>
              <a:off x="0" y="545544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2" name="Gerader Verbinder 64"/>
            <p:cNvCxnSpPr/>
            <p:nvPr userDrawn="1"/>
          </p:nvCxnSpPr>
          <p:spPr>
            <a:xfrm>
              <a:off x="0" y="613267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3" name="Gerader Verbinder 65"/>
            <p:cNvCxnSpPr/>
            <p:nvPr userDrawn="1"/>
          </p:nvCxnSpPr>
          <p:spPr>
            <a:xfrm>
              <a:off x="0" y="33623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54" name="Abstandsbox"/>
          <p:cNvGrpSpPr/>
          <p:nvPr userDrawn="1"/>
        </p:nvGrpSpPr>
        <p:grpSpPr>
          <a:xfrm>
            <a:off x="6967053" y="3831910"/>
            <a:ext cx="1902050" cy="742919"/>
            <a:chOff x="6967053" y="3831910"/>
            <a:chExt cx="1902050" cy="742919"/>
          </a:xfrm>
        </p:grpSpPr>
        <p:sp>
          <p:nvSpPr>
            <p:cNvPr id="255" name="Rechteckige Legende 124"/>
            <p:cNvSpPr/>
            <p:nvPr userDrawn="1"/>
          </p:nvSpPr>
          <p:spPr>
            <a:xfrm>
              <a:off x="6967053" y="4132501"/>
              <a:ext cx="1902050" cy="442328"/>
            </a:xfrm>
            <a:prstGeom prst="wedgeRoundRectCallout">
              <a:avLst>
                <a:gd name="adj1" fmla="val -23390"/>
                <a:gd name="adj2" fmla="val -87045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Horizontal distance: 0,5 cm</a:t>
              </a:r>
            </a:p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Vertical distance: 0,25 cm</a:t>
              </a:r>
            </a:p>
          </p:txBody>
        </p:sp>
        <p:sp>
          <p:nvSpPr>
            <p:cNvPr id="256" name="Rechteck 123"/>
            <p:cNvSpPr/>
            <p:nvPr userDrawn="1"/>
          </p:nvSpPr>
          <p:spPr>
            <a:xfrm>
              <a:off x="7399338" y="3831910"/>
              <a:ext cx="180000" cy="9032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cap="all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7" name="Mittelkreuz"/>
          <p:cNvGrpSpPr/>
          <p:nvPr userDrawn="1"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258" name="Mittellinie vertikal"/>
            <p:cNvCxnSpPr/>
            <p:nvPr userDrawn="1"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59" name="Mittellinie horizontal"/>
            <p:cNvCxnSpPr/>
            <p:nvPr userDrawn="1"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60" name="Rechteckige Legende 16"/>
            <p:cNvSpPr/>
            <p:nvPr userDrawn="1"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Distance of gridlines measured from cen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69879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0450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0" orient="horz" pos="2160" userDrawn="1">
          <p15:clr>
            <a:srgbClr val="FBAE40"/>
          </p15:clr>
        </p15:guide>
        <p15:guide id="1" pos="2880" userDrawn="1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7" name="Textplatzhalter 1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142592"/>
      </p:ext>
    </p:extLst>
  </p:cSld>
  <p:clrMapOvr>
    <a:masterClrMapping/>
  </p:clrMapOvr>
  <p:hf hdr="0" ftr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red head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4106"/>
            <a:ext cx="9144000" cy="4056469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144000" cy="542925"/>
          </a:xfrm>
          <a:solidFill>
            <a:schemeClr val="tx2"/>
          </a:solidFill>
          <a:ln>
            <a:noFill/>
          </a:ln>
        </p:spPr>
        <p:txBody>
          <a:bodyPr vert="horz" lIns="108000" tIns="108000" rIns="108000" bIns="0" rtlCol="0" anchor="ctr" anchorCtr="0">
            <a:noAutofit/>
          </a:bodyPr>
          <a:lstStyle>
            <a:lvl1pPr>
              <a:defRPr lang="de-DE" sz="2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platzhalter 1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235668"/>
      </p:ext>
    </p:extLst>
  </p:cSld>
  <p:clrMapOvr>
    <a:masterClrMapping/>
  </p:clrMapOvr>
  <p:hf hdr="0" ftr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5934075" cy="4605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5938838" y="1"/>
            <a:ext cx="3204781" cy="22986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8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5938838" y="2304288"/>
            <a:ext cx="3204781" cy="230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9942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1622424"/>
            <a:ext cx="8560062" cy="452008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0" rIns="108000" bIns="0" rtlCol="0" anchor="ctr" anchorCtr="0">
            <a:noAutofit/>
          </a:bodyPr>
          <a:lstStyle>
            <a:lvl1pPr marL="176213" indent="-176213">
              <a:lnSpc>
                <a:spcPct val="100000"/>
              </a:lnSpc>
              <a:spcAft>
                <a:spcPts val="600"/>
              </a:spcAft>
              <a:buSzPct val="100000"/>
              <a:buFont typeface="Arial" panose="020B0604020202020204" pitchFamily="34" charset="0"/>
              <a:buChar char="&gt;"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lvl="0"/>
            <a:r>
              <a:rPr lang="en-US" dirty="0"/>
              <a:t>Insert text for disclaim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940DD-8E32-4B2F-B442-F236D5130E44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77938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agenda/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D69A-4637-442F-95F4-2803350F1BCE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161925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925" y="1996440"/>
            <a:ext cx="8569325" cy="777240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sz="140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sub item or delete/rearrange text boxes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88925" y="281178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88925" y="3188970"/>
            <a:ext cx="8569325" cy="312038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marL="182563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>
                <a:tab pos="8428038" algn="r"/>
              </a:tabLst>
            </a:pPr>
            <a:r>
              <a:rPr lang="en-US" dirty="0"/>
              <a:t>Click to add sub item or delete/rearrange text boxes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88925" y="3543478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88925" y="3927003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4312557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88925" y="4689706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</p:spTree>
    <p:extLst>
      <p:ext uri="{BB962C8B-B14F-4D97-AF65-F5344CB8AC3E}">
        <p14:creationId xmlns:p14="http://schemas.microsoft.com/office/powerpoint/2010/main" val="335888985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600" y="2030400"/>
            <a:ext cx="5370411" cy="2002637"/>
          </a:xfrm>
        </p:spPr>
        <p:txBody>
          <a:bodyPr anchor="t"/>
          <a:lstStyle>
            <a:lvl1pPr algn="l">
              <a:lnSpc>
                <a:spcPct val="100000"/>
              </a:lnSpc>
              <a:defRPr sz="36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968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1151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1261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92788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438" y="2028825"/>
            <a:ext cx="3911600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40003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the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2900"/>
            <a:ext cx="9144000" cy="52390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9438" y="2028825"/>
            <a:ext cx="3902075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79437" y="495300"/>
            <a:ext cx="5864771" cy="542925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Insert contact data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218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86975"/>
            <a:ext cx="4192488" cy="2245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F93E9-6D02-4271-9DE5-4C5F23ED8FD8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3919540"/>
            <a:ext cx="4187825" cy="220662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104885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1600" y="1569600"/>
            <a:ext cx="8560062" cy="4572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5C2C-E9DE-45BD-A857-55AECF0C522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718680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/3 - red subtitle under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D5F1A-A1A0-46DE-AB45-63DA9AA4609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121400" y="1475259"/>
            <a:ext cx="2736850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91600" y="1475259"/>
            <a:ext cx="5654675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298518" y="2298700"/>
            <a:ext cx="5654675" cy="2591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048817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8E848-4BA0-46DA-B7E3-A8DA2E7F24E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91600" y="1575950"/>
            <a:ext cx="4192588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60900" y="1572775"/>
            <a:ext cx="4197350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46907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2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4192488" cy="4563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310B4-A1C2-4B60-B54E-E4BD04F93B7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59313" y="1627201"/>
            <a:ext cx="4187825" cy="220502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659313" y="3919789"/>
            <a:ext cx="4187825" cy="22206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00876432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7"/>
            <a:ext cx="5641875" cy="4556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6EAA-2E8F-4E61-AFDE-41C2065B938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21400" y="1627200"/>
            <a:ext cx="2738438" cy="22256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21400" y="3922713"/>
            <a:ext cx="2738438" cy="2225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71402359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1" y="1575715"/>
            <a:ext cx="5648824" cy="455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F1FA-ABD1-40D0-8304-86742E155357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6121400" y="2298700"/>
            <a:ext cx="2747963" cy="3070226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aseline="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071899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48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2C38B2-42F4-449C-91A0-4D87B86BED1D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3205163" y="1619250"/>
            <a:ext cx="5662052" cy="45148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225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355738396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E9BE2-A349-480E-9FA8-1B0465CE62E4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3209124" y="2298700"/>
            <a:ext cx="5649126" cy="35065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3203575" y="1627694"/>
            <a:ext cx="5654675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69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81304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- 2 objects -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4077073"/>
            <a:ext cx="8559700" cy="20633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20202-3F96-4633-97D4-EB6488CD0176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6121400" y="2298700"/>
            <a:ext cx="2736850" cy="1532351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291600" y="1627200"/>
            <a:ext cx="5651500" cy="22114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304570624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86975"/>
            <a:ext cx="4192488" cy="2245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F93E9-6D02-4271-9DE5-4C5F23ED8FD8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3919540"/>
            <a:ext cx="4187825" cy="220662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88007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7" name="Textplatzhalter 1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689587"/>
      </p:ext>
    </p:extLst>
  </p:cSld>
  <p:clrMapOvr>
    <a:masterClrMapping/>
  </p:clrMapOvr>
  <p:hf hdr="0" ftr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4 - 1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88925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664138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5"/>
          </p:nvPr>
        </p:nvSpPr>
        <p:spPr>
          <a:xfrm>
            <a:off x="288925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6"/>
          </p:nvPr>
        </p:nvSpPr>
        <p:spPr>
          <a:xfrm>
            <a:off x="4664138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3409709"/>
      </p:ext>
    </p:extLst>
  </p:cSld>
  <p:clrMapOvr>
    <a:masterClrMapping/>
  </p:clrMapOvr>
  <p:hf hdr="0" ftr="0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4 - 1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88925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664138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5"/>
          </p:nvPr>
        </p:nvSpPr>
        <p:spPr>
          <a:xfrm>
            <a:off x="288925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6"/>
          </p:nvPr>
        </p:nvSpPr>
        <p:spPr>
          <a:xfrm>
            <a:off x="4664138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338851"/>
      </p:ext>
    </p:extLst>
  </p:cSld>
  <p:clrMapOvr>
    <a:masterClrMapping/>
  </p:clrMapOvr>
  <p:hf hdr="0" ftr="0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all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842FC-4472-4057-BF49-491306FF850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4605338"/>
            <a:ext cx="4187825" cy="152082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4"/>
          </p:nvPr>
        </p:nvSpPr>
        <p:spPr>
          <a:xfrm>
            <a:off x="290068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288521" y="162451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292100" y="2298700"/>
            <a:ext cx="4195763" cy="15287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600"/>
            </a:lvl1pPr>
            <a:lvl2pPr marL="361950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2pPr>
            <a:lvl3pPr marL="534988" indent="-173038">
              <a:lnSpc>
                <a:spcPct val="100000"/>
              </a:lnSpc>
              <a:spcBef>
                <a:spcPts val="600"/>
              </a:spcBef>
              <a:spcAft>
                <a:spcPts val="567"/>
              </a:spcAft>
              <a:buFont typeface="Wingdings" panose="05000000000000000000" pitchFamily="2" charset="2"/>
              <a:buChar char="§"/>
              <a:defRPr/>
            </a:lvl3pPr>
            <a:lvl4pPr marL="715963" indent="-180975">
              <a:buFont typeface="Wingdings" panose="05000000000000000000" pitchFamily="2" charset="2"/>
              <a:buChar char="§"/>
              <a:defRPr/>
            </a:lvl4pPr>
            <a:lvl5pPr marL="896938" indent="-180975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7504960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 1/1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E93F2-6651-4DAF-8D5B-5B67F320C31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2298701"/>
            <a:ext cx="8560062" cy="350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None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4950" y="5840561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4519"/>
            <a:ext cx="8568408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714802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-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306551016"/>
      </p:ext>
    </p:extLst>
  </p:cSld>
  <p:clrMapOvr>
    <a:masterClrMapping/>
  </p:clrMapOvr>
  <p:hf hdr="0" ftr="0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ictures 8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622425"/>
            <a:ext cx="1998000" cy="18538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0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86306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41" hasCustomPrompt="1"/>
          </p:nvPr>
        </p:nvSpPr>
        <p:spPr>
          <a:xfrm>
            <a:off x="290390" y="3919761"/>
            <a:ext cx="1998000" cy="18689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4" name="Bildplatzhalter 9"/>
          <p:cNvSpPr>
            <a:spLocks noGrp="1"/>
          </p:cNvSpPr>
          <p:nvPr>
            <p:ph type="pic" sz="quarter" idx="42" hasCustomPrompt="1"/>
          </p:nvPr>
        </p:nvSpPr>
        <p:spPr>
          <a:xfrm>
            <a:off x="6858553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4669268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2486306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9390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platzhalter 12"/>
          <p:cNvSpPr>
            <a:spLocks noGrp="1"/>
          </p:cNvSpPr>
          <p:nvPr>
            <p:ph type="body" sz="quarter" idx="45"/>
          </p:nvPr>
        </p:nvSpPr>
        <p:spPr>
          <a:xfrm>
            <a:off x="2498484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46"/>
          </p:nvPr>
        </p:nvSpPr>
        <p:spPr>
          <a:xfrm>
            <a:off x="4674908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47"/>
          </p:nvPr>
        </p:nvSpPr>
        <p:spPr>
          <a:xfrm>
            <a:off x="6881559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48"/>
          </p:nvPr>
        </p:nvSpPr>
        <p:spPr>
          <a:xfrm>
            <a:off x="299390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49"/>
          </p:nvPr>
        </p:nvSpPr>
        <p:spPr>
          <a:xfrm>
            <a:off x="2498484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50"/>
          </p:nvPr>
        </p:nvSpPr>
        <p:spPr>
          <a:xfrm>
            <a:off x="4674908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51"/>
          </p:nvPr>
        </p:nvSpPr>
        <p:spPr>
          <a:xfrm>
            <a:off x="6881559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84374"/>
      </p:ext>
    </p:extLst>
  </p:cSld>
  <p:clrMapOvr>
    <a:masterClrMapping/>
  </p:clrMapOvr>
  <p:hf hdr="0" ftr="0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s 2 - 1/2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22F0-A202-4EA4-BC9B-1A86C5B7069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91600" y="2292853"/>
            <a:ext cx="4189913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7" hasCustomPrompt="1"/>
          </p:nvPr>
        </p:nvSpPr>
        <p:spPr>
          <a:xfrm>
            <a:off x="4664394" y="2292853"/>
            <a:ext cx="4186236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34490"/>
            <a:ext cx="0" cy="416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cxnSp>
        <p:nvCxnSpPr>
          <p:cNvPr id="13" name="Gerader Verbinder 6"/>
          <p:cNvCxnSpPr/>
          <p:nvPr/>
        </p:nvCxnSpPr>
        <p:spPr>
          <a:xfrm>
            <a:off x="4572000" y="1622138"/>
            <a:ext cx="0" cy="4499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848308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ress clippings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9" hasCustomPrompt="1"/>
          </p:nvPr>
        </p:nvSpPr>
        <p:spPr>
          <a:xfrm>
            <a:off x="291600" y="2289908"/>
            <a:ext cx="4194969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BBC96-FF81-41A2-A288-3AD332C2BB50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15281"/>
            <a:ext cx="0" cy="4192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11"/>
          <p:cNvSpPr>
            <a:spLocks noGrp="1"/>
          </p:cNvSpPr>
          <p:nvPr>
            <p:ph type="pic" sz="quarter" idx="20" hasCustomPrompt="1"/>
          </p:nvPr>
        </p:nvSpPr>
        <p:spPr>
          <a:xfrm>
            <a:off x="4660900" y="2289908"/>
            <a:ext cx="4202113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5851097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174299605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rganisational char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204046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6121400" y="3493638"/>
            <a:ext cx="2736000" cy="977000"/>
          </a:xfrm>
          <a:noFill/>
          <a:ln>
            <a:solidFill>
              <a:schemeClr val="accent4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310AA-847B-4063-A899-3FA7213427A7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842418"/>
            <a:ext cx="2736000" cy="655879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2842418"/>
            <a:ext cx="2736000" cy="65587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842418"/>
            <a:ext cx="2736000" cy="655879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7" name="Freihandform 16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9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ihandform 17"/>
          <p:cNvSpPr/>
          <p:nvPr userDrawn="1"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40372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text 4 - 1/4 grey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84950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03914" y="234656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03914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052F0-A65C-44FC-B982-E3D1FFB99B1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403913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Rechteck 22"/>
          <p:cNvSpPr/>
          <p:nvPr/>
        </p:nvSpPr>
        <p:spPr>
          <a:xfrm>
            <a:off x="4667169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786133" y="234656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786133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4786132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Rechteck 33"/>
          <p:cNvSpPr/>
          <p:nvPr/>
        </p:nvSpPr>
        <p:spPr>
          <a:xfrm>
            <a:off x="284950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3914" y="455492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3914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403913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Rechteck 37"/>
          <p:cNvSpPr/>
          <p:nvPr/>
        </p:nvSpPr>
        <p:spPr>
          <a:xfrm>
            <a:off x="4667169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786133" y="455492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786133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786132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7352689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288925" y="1619250"/>
            <a:ext cx="8569325" cy="45212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C11DA-F605-427D-918D-A0A0517F685E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91038" y="1620043"/>
            <a:ext cx="1809154" cy="1168028"/>
          </a:xfrm>
          <a:prstGeom prst="callout1">
            <a:avLst>
              <a:gd name="adj1" fmla="val -276"/>
              <a:gd name="adj2" fmla="val 331"/>
              <a:gd name="adj3" fmla="val 167493"/>
              <a:gd name="adj4" fmla="val 176"/>
            </a:avLst>
          </a:prstGeom>
          <a:ln w="6350">
            <a:solidFill>
              <a:schemeClr val="accent1"/>
            </a:solidFill>
          </a:ln>
        </p:spPr>
        <p:txBody>
          <a:bodyPr lIns="72000" tIns="0" rIns="7200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2pPr>
            <a:lvl3pPr marL="180975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400"/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6454009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all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842FC-4472-4057-BF49-491306FF850B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4605338"/>
            <a:ext cx="4187825" cy="152082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4"/>
          </p:nvPr>
        </p:nvSpPr>
        <p:spPr>
          <a:xfrm>
            <a:off x="290068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288521" y="162451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292100" y="2298700"/>
            <a:ext cx="4195763" cy="15287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600"/>
            </a:lvl1pPr>
            <a:lvl2pPr marL="361950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2pPr>
            <a:lvl3pPr marL="534988" indent="-173038">
              <a:lnSpc>
                <a:spcPct val="100000"/>
              </a:lnSpc>
              <a:spcBef>
                <a:spcPts val="600"/>
              </a:spcBef>
              <a:spcAft>
                <a:spcPts val="567"/>
              </a:spcAft>
              <a:buFont typeface="Wingdings" panose="05000000000000000000" pitchFamily="2" charset="2"/>
              <a:buChar char="§"/>
              <a:defRPr/>
            </a:lvl3pPr>
            <a:lvl4pPr marL="715963" indent="-180975">
              <a:buFont typeface="Wingdings" panose="05000000000000000000" pitchFamily="2" charset="2"/>
              <a:buChar char="§"/>
              <a:defRPr/>
            </a:lvl4pPr>
            <a:lvl5pPr marL="896938" indent="-180975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042297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2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5C694-0345-48C8-93B8-B4E4D0384586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feil nach rechts 6"/>
          <p:cNvSpPr/>
          <p:nvPr/>
        </p:nvSpPr>
        <p:spPr>
          <a:xfrm>
            <a:off x="288925" y="3393469"/>
            <a:ext cx="8569325" cy="635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96863" y="1612900"/>
            <a:ext cx="2579687" cy="1349375"/>
          </a:xfrm>
          <a:ln>
            <a:solidFill>
              <a:schemeClr val="accent1"/>
            </a:solidFill>
          </a:ln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95288" y="3573463"/>
            <a:ext cx="8083550" cy="26511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99965356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2 - text in 8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96AD8-12A9-485B-AC84-50DA55C4164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91600" y="3409749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2543475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91600" y="557543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91600" y="5142297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291600" y="4709160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/>
          </p:nvPr>
        </p:nvSpPr>
        <p:spPr>
          <a:xfrm>
            <a:off x="291600" y="427602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3842886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91600" y="2976612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2369503" y="3409749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2369503" y="2543475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2369503" y="557543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369503" y="5142297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25"/>
          </p:nvPr>
        </p:nvSpPr>
        <p:spPr>
          <a:xfrm>
            <a:off x="2369503" y="4709160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26"/>
          </p:nvPr>
        </p:nvSpPr>
        <p:spPr>
          <a:xfrm>
            <a:off x="2369503" y="427602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369503" y="3842886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369503" y="2976612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  <a:p>
            <a:pPr lvl="0"/>
            <a:endParaRPr lang="en-US" dirty="0"/>
          </a:p>
        </p:txBody>
      </p:sp>
      <p:pic>
        <p:nvPicPr>
          <p:cNvPr id="29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1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12257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bracket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ihandform 30"/>
          <p:cNvSpPr/>
          <p:nvPr/>
        </p:nvSpPr>
        <p:spPr>
          <a:xfrm>
            <a:off x="276225" y="3825753"/>
            <a:ext cx="8582025" cy="266700"/>
          </a:xfrm>
          <a:custGeom>
            <a:avLst/>
            <a:gdLst>
              <a:gd name="connsiteX0" fmla="*/ 0 w 8582025"/>
              <a:gd name="connsiteY0" fmla="*/ 0 h 266700"/>
              <a:gd name="connsiteX1" fmla="*/ 209550 w 8582025"/>
              <a:gd name="connsiteY1" fmla="*/ 266700 h 266700"/>
              <a:gd name="connsiteX2" fmla="*/ 8391525 w 8582025"/>
              <a:gd name="connsiteY2" fmla="*/ 266700 h 266700"/>
              <a:gd name="connsiteX3" fmla="*/ 8582025 w 8582025"/>
              <a:gd name="connsiteY3" fmla="*/ 9525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82025" h="266700">
                <a:moveTo>
                  <a:pt x="0" y="0"/>
                </a:moveTo>
                <a:lnTo>
                  <a:pt x="209550" y="266700"/>
                </a:lnTo>
                <a:lnTo>
                  <a:pt x="8391525" y="266700"/>
                </a:lnTo>
                <a:lnTo>
                  <a:pt x="8582025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88264-8DCA-42F2-B48F-891C7644940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1624184"/>
            <a:ext cx="2736000" cy="343022"/>
          </a:xfrm>
          <a:solidFill>
            <a:schemeClr val="accent2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1624184"/>
            <a:ext cx="2736000" cy="343022"/>
          </a:xfrm>
          <a:solidFill>
            <a:schemeClr val="accent1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1624184"/>
            <a:ext cx="2736000" cy="343022"/>
          </a:xfrm>
          <a:solidFill>
            <a:schemeClr val="accent4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>
          <a:xfrm>
            <a:off x="3194050" y="4556125"/>
            <a:ext cx="3610198" cy="1933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5" hasCustomPrompt="1"/>
          </p:nvPr>
        </p:nvSpPr>
        <p:spPr>
          <a:xfrm>
            <a:off x="2916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3650072" y="3924178"/>
            <a:ext cx="1874428" cy="343022"/>
          </a:xfrm>
          <a:solidFill>
            <a:schemeClr val="tx2"/>
          </a:solidFill>
        </p:spPr>
        <p:txBody>
          <a:bodyPr lIns="72000" tIns="0" rIns="7200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29" hasCustomPrompt="1"/>
          </p:nvPr>
        </p:nvSpPr>
        <p:spPr>
          <a:xfrm>
            <a:off x="3201854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7" name="Bildplatzhalter 14"/>
          <p:cNvSpPr>
            <a:spLocks noGrp="1"/>
          </p:cNvSpPr>
          <p:nvPr>
            <p:ph type="pic" sz="quarter" idx="30" hasCustomPrompt="1"/>
          </p:nvPr>
        </p:nvSpPr>
        <p:spPr>
          <a:xfrm>
            <a:off x="61209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1" hasCustomPrompt="1"/>
          </p:nvPr>
        </p:nvSpPr>
        <p:spPr>
          <a:xfrm>
            <a:off x="288925" y="6202790"/>
            <a:ext cx="27360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427178092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-columns 3 - text &amp; arrows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/>
          <p:cNvSpPr/>
          <p:nvPr/>
        </p:nvSpPr>
        <p:spPr>
          <a:xfrm>
            <a:off x="3197460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120683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6604987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hteck 9"/>
          <p:cNvSpPr/>
          <p:nvPr/>
        </p:nvSpPr>
        <p:spPr>
          <a:xfrm>
            <a:off x="291599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86600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1599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2"/>
          </p:nvPr>
        </p:nvSpPr>
        <p:spPr>
          <a:xfrm>
            <a:off x="781235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33"/>
          </p:nvPr>
        </p:nvSpPr>
        <p:spPr>
          <a:xfrm>
            <a:off x="3693111" y="1645884"/>
            <a:ext cx="2166753" cy="617538"/>
          </a:xfr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6164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36"/>
          </p:nvPr>
        </p:nvSpPr>
        <p:spPr>
          <a:xfrm>
            <a:off x="6118658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206578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126556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Freihandform 34"/>
          <p:cNvSpPr/>
          <p:nvPr/>
        </p:nvSpPr>
        <p:spPr>
          <a:xfrm>
            <a:off x="319386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Textfeld 6"/>
          <p:cNvSpPr txBox="1"/>
          <p:nvPr/>
        </p:nvSpPr>
        <p:spPr>
          <a:xfrm>
            <a:off x="269075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8" name="Textfeld 27"/>
          <p:cNvSpPr txBox="1"/>
          <p:nvPr/>
        </p:nvSpPr>
        <p:spPr>
          <a:xfrm>
            <a:off x="31932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1" name="Textfeld 43"/>
          <p:cNvSpPr txBox="1"/>
          <p:nvPr/>
        </p:nvSpPr>
        <p:spPr>
          <a:xfrm>
            <a:off x="61269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9" name="Freihandform 38"/>
          <p:cNvSpPr/>
          <p:nvPr/>
        </p:nvSpPr>
        <p:spPr>
          <a:xfrm>
            <a:off x="28302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Freihandform 39"/>
          <p:cNvSpPr/>
          <p:nvPr/>
        </p:nvSpPr>
        <p:spPr>
          <a:xfrm>
            <a:off x="611994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004507"/>
      </p:ext>
    </p:extLst>
  </p:cSld>
  <p:clrMapOvr>
    <a:masterClrMapping/>
  </p:clrMapOvr>
  <p:hf hdr="0" ftr="0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6259C-38AB-42F9-BFD7-FAEBE525E8C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4950" y="2503115"/>
            <a:ext cx="2729162" cy="349822"/>
          </a:xfrm>
          <a:solidFill>
            <a:schemeClr val="accent2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1250" y="2503115"/>
            <a:ext cx="2745439" cy="349822"/>
          </a:xfrm>
          <a:solidFill>
            <a:schemeClr val="accent1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503115"/>
            <a:ext cx="2727403" cy="349822"/>
          </a:xfrm>
          <a:solidFill>
            <a:schemeClr val="accent4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Gerader Verbinder 17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494112" y="2905125"/>
            <a:ext cx="2520000" cy="126682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2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494112" y="4467225"/>
            <a:ext cx="2520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6" name="Diagrammplatzhalter 7"/>
          <p:cNvSpPr>
            <a:spLocks noGrp="1"/>
          </p:cNvSpPr>
          <p:nvPr>
            <p:ph type="chart" sz="quarter" idx="28"/>
          </p:nvPr>
        </p:nvSpPr>
        <p:spPr>
          <a:xfrm>
            <a:off x="320125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Diagrammplatzhalter 7"/>
          <p:cNvSpPr>
            <a:spLocks noGrp="1"/>
          </p:cNvSpPr>
          <p:nvPr>
            <p:ph type="chart" sz="quarter" idx="29"/>
          </p:nvPr>
        </p:nvSpPr>
        <p:spPr>
          <a:xfrm>
            <a:off x="320125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0" name="Diagrammplatzhalter 7"/>
          <p:cNvSpPr>
            <a:spLocks noGrp="1"/>
          </p:cNvSpPr>
          <p:nvPr>
            <p:ph type="chart" sz="quarter" idx="30"/>
          </p:nvPr>
        </p:nvSpPr>
        <p:spPr>
          <a:xfrm>
            <a:off x="612140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31"/>
          </p:nvPr>
        </p:nvSpPr>
        <p:spPr>
          <a:xfrm>
            <a:off x="612140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2"/>
          </p:nvPr>
        </p:nvSpPr>
        <p:spPr>
          <a:xfrm rot="16200000">
            <a:off x="-304062" y="34726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33"/>
          </p:nvPr>
        </p:nvSpPr>
        <p:spPr>
          <a:xfrm rot="16200000">
            <a:off x="-304062" y="50347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3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32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5" name="Gerader Verbinder 17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4"/>
          <p:cNvCxnSpPr/>
          <p:nvPr userDrawn="1"/>
        </p:nvCxnSpPr>
        <p:spPr>
          <a:xfrm>
            <a:off x="288925" y="4288929"/>
            <a:ext cx="27328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7"/>
          <p:cNvCxnSpPr/>
          <p:nvPr userDrawn="1"/>
        </p:nvCxnSpPr>
        <p:spPr>
          <a:xfrm>
            <a:off x="3201250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1"/>
          <p:cNvCxnSpPr/>
          <p:nvPr userDrawn="1"/>
        </p:nvCxnSpPr>
        <p:spPr>
          <a:xfrm>
            <a:off x="6125425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611306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Gerader Verbinder 29"/>
          <p:cNvCxnSpPr/>
          <p:nvPr/>
        </p:nvCxnSpPr>
        <p:spPr>
          <a:xfrm>
            <a:off x="3483088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291600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291600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24929-C96C-4563-B23F-56BD00E51E1C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777263"/>
            <a:ext cx="2005200" cy="527912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spcBef>
                <a:spcPts val="0"/>
              </a:spcBef>
              <a:buFont typeface="Arial" panose="020B0604020202020204" pitchFamily="34" charset="0"/>
              <a:buNone/>
              <a:tabLst/>
              <a:defRPr lang="de-AT" sz="1200" cap="all" baseline="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cxnSp>
        <p:nvCxnSpPr>
          <p:cNvPr id="43" name="Gerader Verbinder 42"/>
          <p:cNvCxnSpPr/>
          <p:nvPr/>
        </p:nvCxnSpPr>
        <p:spPr>
          <a:xfrm>
            <a:off x="5669616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/>
        </p:nvCxnSpPr>
        <p:spPr>
          <a:xfrm>
            <a:off x="4583857" y="2295922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480885" y="2777263"/>
            <a:ext cx="2005200" cy="52791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4652585" y="2777263"/>
            <a:ext cx="2005200" cy="527912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6852382" y="2777263"/>
            <a:ext cx="2005200" cy="527912"/>
          </a:xfrm>
          <a:solidFill>
            <a:schemeClr val="accent3"/>
          </a:solidFill>
        </p:spPr>
        <p:txBody>
          <a:bodyPr wrap="square" lIns="72000" tIns="36000" rIns="72000" bIns="36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37"/>
          </p:nvPr>
        </p:nvSpPr>
        <p:spPr>
          <a:xfrm rot="16200000">
            <a:off x="-304062" y="3996475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38"/>
          </p:nvPr>
        </p:nvSpPr>
        <p:spPr>
          <a:xfrm rot="16200000">
            <a:off x="-257627" y="5512140"/>
            <a:ext cx="1174206" cy="132125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Diagrammplatzhalter 7"/>
          <p:cNvSpPr>
            <a:spLocks noGrp="1"/>
          </p:cNvSpPr>
          <p:nvPr>
            <p:ph type="chart" sz="quarter" idx="39"/>
          </p:nvPr>
        </p:nvSpPr>
        <p:spPr>
          <a:xfrm>
            <a:off x="24808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40"/>
          </p:nvPr>
        </p:nvSpPr>
        <p:spPr>
          <a:xfrm>
            <a:off x="24808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2" name="Diagrammplatzhalter 7"/>
          <p:cNvSpPr>
            <a:spLocks noGrp="1"/>
          </p:cNvSpPr>
          <p:nvPr>
            <p:ph type="chart" sz="quarter" idx="41"/>
          </p:nvPr>
        </p:nvSpPr>
        <p:spPr>
          <a:xfrm>
            <a:off x="46525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Diagrammplatzhalter 7"/>
          <p:cNvSpPr>
            <a:spLocks noGrp="1"/>
          </p:cNvSpPr>
          <p:nvPr>
            <p:ph type="chart" sz="quarter" idx="42"/>
          </p:nvPr>
        </p:nvSpPr>
        <p:spPr>
          <a:xfrm>
            <a:off x="46525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Diagrammplatzhalter 7"/>
          <p:cNvSpPr>
            <a:spLocks noGrp="1"/>
          </p:cNvSpPr>
          <p:nvPr>
            <p:ph type="chart" sz="quarter" idx="43"/>
          </p:nvPr>
        </p:nvSpPr>
        <p:spPr>
          <a:xfrm>
            <a:off x="6852382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6" name="Diagrammplatzhalter 7"/>
          <p:cNvSpPr>
            <a:spLocks noGrp="1"/>
          </p:cNvSpPr>
          <p:nvPr>
            <p:ph type="chart" sz="quarter" idx="44"/>
          </p:nvPr>
        </p:nvSpPr>
        <p:spPr>
          <a:xfrm>
            <a:off x="6852382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73" name="Freihandform 6"/>
          <p:cNvSpPr/>
          <p:nvPr/>
        </p:nvSpPr>
        <p:spPr>
          <a:xfrm>
            <a:off x="1291480" y="2560712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Freihandform 6"/>
          <p:cNvSpPr/>
          <p:nvPr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0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49" name="Freihandform 6"/>
          <p:cNvSpPr/>
          <p:nvPr userDrawn="1"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56" name="Gerader Verbinder 45"/>
          <p:cNvCxnSpPr/>
          <p:nvPr userDrawn="1"/>
        </p:nvCxnSpPr>
        <p:spPr>
          <a:xfrm>
            <a:off x="282732" y="4777937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3"/>
          <p:cNvCxnSpPr/>
          <p:nvPr userDrawn="1"/>
        </p:nvCxnSpPr>
        <p:spPr>
          <a:xfrm>
            <a:off x="2489199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/>
          <p:cNvCxnSpPr/>
          <p:nvPr userDrawn="1"/>
        </p:nvCxnSpPr>
        <p:spPr>
          <a:xfrm>
            <a:off x="4670424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61"/>
          <p:cNvCxnSpPr/>
          <p:nvPr userDrawn="1"/>
        </p:nvCxnSpPr>
        <p:spPr>
          <a:xfrm>
            <a:off x="6852382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089648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tur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8DBF8-6C51-44BC-AE2F-71860FCD3DEA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07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291600" y="2544763"/>
            <a:ext cx="2005200" cy="153007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78869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1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668813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858756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395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5005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27493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46817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9305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68534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71022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2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24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812623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AEBBD-AC5E-4698-A169-10AEF6D8758F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9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15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69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61172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1208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1262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8180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201780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8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207180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201573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50" name="Textplatzhalt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6133699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5" name="Rechteck 2"/>
          <p:cNvSpPr/>
          <p:nvPr userDrawn="1"/>
        </p:nvSpPr>
        <p:spPr>
          <a:xfrm>
            <a:off x="2875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1" name="Rechteck 43"/>
          <p:cNvSpPr/>
          <p:nvPr userDrawn="1"/>
        </p:nvSpPr>
        <p:spPr>
          <a:xfrm>
            <a:off x="61168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2" name="Rechteck 48"/>
          <p:cNvSpPr/>
          <p:nvPr userDrawn="1"/>
        </p:nvSpPr>
        <p:spPr>
          <a:xfrm>
            <a:off x="3197755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69097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8616D-BF26-4D2D-A112-267FD684263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6790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976824"/>
            <a:ext cx="19980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390" y="4780012"/>
            <a:ext cx="1980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30"/>
          </p:nvPr>
        </p:nvSpPr>
        <p:spPr>
          <a:xfrm>
            <a:off x="6854953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867553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4665668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4678268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2467592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71192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0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480192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4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1" name="Textplatzhalt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2491211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2" name="Textplatzhalter 12"/>
          <p:cNvSpPr>
            <a:spLocks noGrp="1"/>
          </p:cNvSpPr>
          <p:nvPr>
            <p:ph type="body" sz="quarter" idx="43" hasCustomPrompt="1"/>
          </p:nvPr>
        </p:nvSpPr>
        <p:spPr>
          <a:xfrm>
            <a:off x="468274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3" name="Textplatzhalter 12"/>
          <p:cNvSpPr>
            <a:spLocks noGrp="1"/>
          </p:cNvSpPr>
          <p:nvPr>
            <p:ph type="body" sz="quarter" idx="44" hasCustomPrompt="1"/>
          </p:nvPr>
        </p:nvSpPr>
        <p:spPr>
          <a:xfrm>
            <a:off x="686672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5" name="Rechteck 2"/>
          <p:cNvSpPr/>
          <p:nvPr userDrawn="1"/>
        </p:nvSpPr>
        <p:spPr>
          <a:xfrm>
            <a:off x="286790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6" name="Rechteck 22"/>
          <p:cNvSpPr/>
          <p:nvPr userDrawn="1"/>
        </p:nvSpPr>
        <p:spPr>
          <a:xfrm>
            <a:off x="6854953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7" name="Rechteck 27"/>
          <p:cNvSpPr/>
          <p:nvPr userDrawn="1"/>
        </p:nvSpPr>
        <p:spPr>
          <a:xfrm>
            <a:off x="4665668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8" name="Rechteck 33"/>
          <p:cNvSpPr/>
          <p:nvPr userDrawn="1"/>
        </p:nvSpPr>
        <p:spPr>
          <a:xfrm>
            <a:off x="2467592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9710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5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89366-5B56-499E-BA6A-1F79747195A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887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8887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67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7294567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7294567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7305367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7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7864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7864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7972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9"/>
          </p:nvPr>
        </p:nvSpPr>
        <p:spPr>
          <a:xfrm>
            <a:off x="20338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0338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7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0446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43"/>
          </p:nvPr>
        </p:nvSpPr>
        <p:spPr>
          <a:xfrm>
            <a:off x="553233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5532335" y="2093397"/>
            <a:ext cx="1569505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2" name="Diagrammplatzhalter 11"/>
          <p:cNvSpPr>
            <a:spLocks noGrp="1"/>
          </p:cNvSpPr>
          <p:nvPr>
            <p:ph type="chart" sz="quarter" idx="45"/>
          </p:nvPr>
        </p:nvSpPr>
        <p:spPr>
          <a:xfrm>
            <a:off x="554313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Rechteck 26"/>
          <p:cNvSpPr/>
          <p:nvPr/>
        </p:nvSpPr>
        <p:spPr>
          <a:xfrm>
            <a:off x="7294567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7864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0338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53233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2" name="Rechteck 2"/>
          <p:cNvSpPr/>
          <p:nvPr/>
        </p:nvSpPr>
        <p:spPr>
          <a:xfrm>
            <a:off x="28887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81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2" name="Textplatzhalter 12"/>
          <p:cNvSpPr>
            <a:spLocks noGrp="1"/>
          </p:cNvSpPr>
          <p:nvPr>
            <p:ph type="body" sz="quarter" idx="46" hasCustomPrompt="1"/>
          </p:nvPr>
        </p:nvSpPr>
        <p:spPr>
          <a:xfrm>
            <a:off x="2045347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3" name="Textplatzhalt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379857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4" name="Textplatzhalt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555180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5" name="Textplatzhalt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7312593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27056856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 1/1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E93F2-6651-4DAF-8D5B-5B67F320C315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2298701"/>
            <a:ext cx="8560062" cy="350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None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4950" y="5840561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4519"/>
            <a:ext cx="8568408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758758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38"/>
          </p:nvPr>
        </p:nvSpPr>
        <p:spPr>
          <a:xfrm>
            <a:off x="292789" y="4292600"/>
            <a:ext cx="2528887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0E165-890C-4C3B-B00C-845BA0E51C31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40" y="1626434"/>
            <a:ext cx="2860694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594309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911889" y="1626434"/>
            <a:ext cx="320029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027363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5876144" y="1626434"/>
            <a:ext cx="297942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2912596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585802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6"/>
          <p:cNvSpPr>
            <a:spLocks noGrp="1"/>
          </p:cNvSpPr>
          <p:nvPr>
            <p:ph type="body" sz="quarter" idx="39"/>
          </p:nvPr>
        </p:nvSpPr>
        <p:spPr>
          <a:xfrm>
            <a:off x="3027363" y="4292600"/>
            <a:ext cx="2529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40"/>
          </p:nvPr>
        </p:nvSpPr>
        <p:spPr>
          <a:xfrm>
            <a:off x="5943091" y="4292600"/>
            <a:ext cx="2530800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2856198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7047E-3A29-4B71-A144-C980ADA2BDF1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2148229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805122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4451746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212021" y="1626434"/>
            <a:ext cx="240909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2286554" y="2568087"/>
            <a:ext cx="198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4397667" y="1626434"/>
            <a:ext cx="241400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219395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588224" y="1626434"/>
            <a:ext cx="2264631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6617908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53" name="Gerade Verbindung 52"/>
          <p:cNvCxnSpPr/>
          <p:nvPr/>
        </p:nvCxnSpPr>
        <p:spPr>
          <a:xfrm>
            <a:off x="435915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/>
        </p:nvCxnSpPr>
        <p:spPr>
          <a:xfrm>
            <a:off x="65253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41"/>
          </p:nvPr>
        </p:nvSpPr>
        <p:spPr>
          <a:xfrm>
            <a:off x="292789" y="4292600"/>
            <a:ext cx="1798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42"/>
          </p:nvPr>
        </p:nvSpPr>
        <p:spPr>
          <a:xfrm>
            <a:off x="2284054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43"/>
          </p:nvPr>
        </p:nvSpPr>
        <p:spPr>
          <a:xfrm>
            <a:off x="4454316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6624577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27102369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292789" y="4292600"/>
            <a:ext cx="145346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E2BAD-230E-4195-9428-DBCC11E6CF4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1708615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347975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7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3612039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1763758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1854127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511662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8" name="Gerade Verbindung 47"/>
          <p:cNvCxnSpPr/>
          <p:nvPr userDrawn="1"/>
        </p:nvCxnSpPr>
        <p:spPr>
          <a:xfrm>
            <a:off x="1747792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5259566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5369951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64" name="Gerade Verbindung 63"/>
          <p:cNvCxnSpPr/>
          <p:nvPr/>
        </p:nvCxnSpPr>
        <p:spPr>
          <a:xfrm>
            <a:off x="350609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 userDrawn="1"/>
        </p:nvCxnSpPr>
        <p:spPr>
          <a:xfrm>
            <a:off x="70227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12"/>
          <p:cNvSpPr>
            <a:spLocks noGrp="1"/>
          </p:cNvSpPr>
          <p:nvPr>
            <p:ph type="body" sz="quarter" idx="41"/>
          </p:nvPr>
        </p:nvSpPr>
        <p:spPr>
          <a:xfrm>
            <a:off x="7007469" y="1626434"/>
            <a:ext cx="184210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7" name="Gerade Verbindung 66"/>
          <p:cNvCxnSpPr/>
          <p:nvPr/>
        </p:nvCxnSpPr>
        <p:spPr>
          <a:xfrm>
            <a:off x="5264404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7127862" y="2568087"/>
            <a:ext cx="144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45"/>
          </p:nvPr>
        </p:nvSpPr>
        <p:spPr>
          <a:xfrm>
            <a:off x="1854171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46"/>
          </p:nvPr>
        </p:nvSpPr>
        <p:spPr>
          <a:xfrm>
            <a:off x="3605334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6"/>
          <p:cNvSpPr>
            <a:spLocks noGrp="1"/>
          </p:cNvSpPr>
          <p:nvPr>
            <p:ph type="body" sz="quarter" idx="47"/>
          </p:nvPr>
        </p:nvSpPr>
        <p:spPr>
          <a:xfrm>
            <a:off x="5365122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48"/>
          </p:nvPr>
        </p:nvSpPr>
        <p:spPr>
          <a:xfrm>
            <a:off x="7133537" y="4292600"/>
            <a:ext cx="1542919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401488288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DDFF4-A2AB-4764-A3CE-715580F2787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346283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84650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gridlines - pls don'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Raster </a:t>
            </a:r>
            <a:r>
              <a:rPr lang="en-US" dirty="0" err="1"/>
              <a:t>nur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neuerlichen</a:t>
            </a:r>
            <a:r>
              <a:rPr lang="en-US" dirty="0"/>
              <a:t> </a:t>
            </a:r>
            <a:r>
              <a:rPr lang="en-US" dirty="0" err="1"/>
              <a:t>Ausrichtung</a:t>
            </a:r>
            <a:r>
              <a:rPr lang="en-US" dirty="0"/>
              <a:t> der </a:t>
            </a:r>
            <a:r>
              <a:rPr lang="en-US" dirty="0" err="1"/>
              <a:t>Hilfslinie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verwenden</a:t>
            </a:r>
            <a:r>
              <a:rPr lang="en-US" dirty="0"/>
              <a:t>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28B82-505B-44E6-AD30-0FE5D7FE48C8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Mittelkreuz"/>
          <p:cNvGrpSpPr/>
          <p:nvPr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37" name="Mittellinie vertikal"/>
            <p:cNvCxnSpPr/>
            <p:nvPr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9" name="Mittellinie horizontal"/>
            <p:cNvCxnSpPr/>
            <p:nvPr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99" name="Rechteckige Legende 16"/>
            <p:cNvSpPr/>
            <p:nvPr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 err="1">
                  <a:solidFill>
                    <a:prstClr val="black"/>
                  </a:solidFill>
                </a:rPr>
                <a:t>Abstand</a:t>
              </a:r>
              <a:r>
                <a:rPr lang="en-US" sz="1050" dirty="0">
                  <a:solidFill>
                    <a:prstClr val="black"/>
                  </a:solidFill>
                </a:rPr>
                <a:t> der </a:t>
              </a:r>
              <a:r>
                <a:rPr lang="en-US" sz="1050" dirty="0" err="1">
                  <a:solidFill>
                    <a:prstClr val="black"/>
                  </a:solidFill>
                </a:rPr>
                <a:t>Hilfslinien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vom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Mittelpunkt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weg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gemessen</a:t>
              </a:r>
              <a:endParaRPr lang="en-US" sz="105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93" name="Links horizontal"/>
          <p:cNvGrpSpPr/>
          <p:nvPr userDrawn="1"/>
        </p:nvGrpSpPr>
        <p:grpSpPr>
          <a:xfrm>
            <a:off x="284950" y="1862906"/>
            <a:ext cx="4372144" cy="1153658"/>
            <a:chOff x="284950" y="1862906"/>
            <a:chExt cx="4372144" cy="1153658"/>
          </a:xfrm>
        </p:grpSpPr>
        <p:cxnSp>
          <p:nvCxnSpPr>
            <p:cNvPr id="94" name="Gerade Verbindung mit Pfeil 6"/>
            <p:cNvCxnSpPr/>
            <p:nvPr/>
          </p:nvCxnSpPr>
          <p:spPr>
            <a:xfrm flipH="1">
              <a:off x="4483100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5" name="Textfeld 15"/>
            <p:cNvSpPr txBox="1"/>
            <p:nvPr userDrawn="1"/>
          </p:nvSpPr>
          <p:spPr>
            <a:xfrm>
              <a:off x="4270450" y="2801120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25</a:t>
              </a:r>
            </a:p>
          </p:txBody>
        </p:sp>
        <p:cxnSp>
          <p:nvCxnSpPr>
            <p:cNvPr id="96" name="Gerade Verbindung mit Pfeil 35"/>
            <p:cNvCxnSpPr/>
            <p:nvPr userDrawn="1"/>
          </p:nvCxnSpPr>
          <p:spPr>
            <a:xfrm flipH="1">
              <a:off x="3205163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7" name="Textfeld 90"/>
            <p:cNvSpPr txBox="1"/>
            <p:nvPr userDrawn="1"/>
          </p:nvSpPr>
          <p:spPr>
            <a:xfrm flipH="1">
              <a:off x="3377476" y="2610619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8</a:t>
              </a:r>
            </a:p>
          </p:txBody>
        </p:sp>
        <p:cxnSp>
          <p:nvCxnSpPr>
            <p:cNvPr id="98" name="Gerade Verbindung mit Pfeil 37"/>
            <p:cNvCxnSpPr/>
            <p:nvPr userDrawn="1"/>
          </p:nvCxnSpPr>
          <p:spPr>
            <a:xfrm flipH="1">
              <a:off x="302260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9" name="Textfeld 77"/>
            <p:cNvSpPr txBox="1"/>
            <p:nvPr userDrawn="1"/>
          </p:nvSpPr>
          <p:spPr>
            <a:xfrm>
              <a:off x="3213008" y="2467744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4,3</a:t>
              </a:r>
            </a:p>
          </p:txBody>
        </p:sp>
        <p:cxnSp>
          <p:nvCxnSpPr>
            <p:cNvPr id="100" name="Gerade Verbindung mit Pfeil 66"/>
            <p:cNvCxnSpPr/>
            <p:nvPr userDrawn="1"/>
          </p:nvCxnSpPr>
          <p:spPr>
            <a:xfrm flipH="1">
              <a:off x="174625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1" name="Textfeld 76"/>
            <p:cNvSpPr txBox="1"/>
            <p:nvPr userDrawn="1"/>
          </p:nvSpPr>
          <p:spPr>
            <a:xfrm>
              <a:off x="1965875" y="2120081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85</a:t>
              </a:r>
            </a:p>
          </p:txBody>
        </p:sp>
        <p:cxnSp>
          <p:nvCxnSpPr>
            <p:cNvPr id="102" name="Gerade Verbindung mit Pfeil 67"/>
            <p:cNvCxnSpPr/>
            <p:nvPr userDrawn="1"/>
          </p:nvCxnSpPr>
          <p:spPr>
            <a:xfrm flipH="1">
              <a:off x="1567181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3" name="Textfeld 75"/>
            <p:cNvSpPr txBox="1"/>
            <p:nvPr userDrawn="1"/>
          </p:nvSpPr>
          <p:spPr>
            <a:xfrm>
              <a:off x="1711781" y="1991494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8,35</a:t>
              </a:r>
            </a:p>
          </p:txBody>
        </p:sp>
        <p:cxnSp>
          <p:nvCxnSpPr>
            <p:cNvPr id="104" name="Gerade Verbindung mit Pfeil 68"/>
            <p:cNvCxnSpPr/>
            <p:nvPr userDrawn="1"/>
          </p:nvCxnSpPr>
          <p:spPr>
            <a:xfrm flipH="1">
              <a:off x="28495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17" name="Textfeld 74"/>
            <p:cNvSpPr txBox="1"/>
            <p:nvPr userDrawn="1"/>
          </p:nvSpPr>
          <p:spPr>
            <a:xfrm>
              <a:off x="468488" y="1862906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1,9</a:t>
              </a:r>
            </a:p>
          </p:txBody>
        </p:sp>
      </p:grpSp>
      <p:grpSp>
        <p:nvGrpSpPr>
          <p:cNvPr id="118" name="Rechts horizontal"/>
          <p:cNvGrpSpPr/>
          <p:nvPr userDrawn="1"/>
        </p:nvGrpSpPr>
        <p:grpSpPr>
          <a:xfrm>
            <a:off x="4570080" y="1862906"/>
            <a:ext cx="4285466" cy="1153658"/>
            <a:chOff x="4570080" y="1862906"/>
            <a:chExt cx="4285466" cy="1153658"/>
          </a:xfrm>
        </p:grpSpPr>
        <p:cxnSp>
          <p:nvCxnSpPr>
            <p:cNvPr id="119" name="Gerade Verbindung mit Pfeil 84"/>
            <p:cNvCxnSpPr/>
            <p:nvPr userDrawn="1"/>
          </p:nvCxnSpPr>
          <p:spPr>
            <a:xfrm>
              <a:off x="457008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0" name="Textfeld 86"/>
            <p:cNvSpPr txBox="1"/>
            <p:nvPr userDrawn="1"/>
          </p:nvSpPr>
          <p:spPr>
            <a:xfrm flipH="1">
              <a:off x="8220426" y="1862906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11,9</a:t>
              </a:r>
            </a:p>
          </p:txBody>
        </p:sp>
        <p:cxnSp>
          <p:nvCxnSpPr>
            <p:cNvPr id="121" name="Gerade Verbindung mit Pfeil 83"/>
            <p:cNvCxnSpPr/>
            <p:nvPr userDrawn="1"/>
          </p:nvCxnSpPr>
          <p:spPr>
            <a:xfrm>
              <a:off x="4570080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2" name="Textfeld 87"/>
            <p:cNvSpPr txBox="1"/>
            <p:nvPr userDrawn="1"/>
          </p:nvSpPr>
          <p:spPr>
            <a:xfrm flipH="1">
              <a:off x="7006560" y="1991494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8,35</a:t>
              </a:r>
            </a:p>
          </p:txBody>
        </p:sp>
        <p:cxnSp>
          <p:nvCxnSpPr>
            <p:cNvPr id="123" name="Gerade Verbindung mit Pfeil 82"/>
            <p:cNvCxnSpPr/>
            <p:nvPr userDrawn="1"/>
          </p:nvCxnSpPr>
          <p:spPr>
            <a:xfrm>
              <a:off x="457008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7" name="Textfeld 88"/>
            <p:cNvSpPr txBox="1"/>
            <p:nvPr userDrawn="1"/>
          </p:nvSpPr>
          <p:spPr>
            <a:xfrm flipH="1">
              <a:off x="6726441" y="2120081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7,85</a:t>
              </a:r>
            </a:p>
          </p:txBody>
        </p:sp>
        <p:cxnSp>
          <p:nvCxnSpPr>
            <p:cNvPr id="130" name="Gerade Verbindung mit Pfeil 81"/>
            <p:cNvCxnSpPr/>
            <p:nvPr userDrawn="1"/>
          </p:nvCxnSpPr>
          <p:spPr>
            <a:xfrm>
              <a:off x="457008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1" name="Textfeld 89"/>
            <p:cNvSpPr txBox="1"/>
            <p:nvPr userDrawn="1"/>
          </p:nvSpPr>
          <p:spPr>
            <a:xfrm flipH="1">
              <a:off x="5550235" y="2467744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4,3</a:t>
              </a:r>
            </a:p>
          </p:txBody>
        </p:sp>
        <p:cxnSp>
          <p:nvCxnSpPr>
            <p:cNvPr id="166" name="Gerade Verbindung mit Pfeil 80"/>
            <p:cNvCxnSpPr/>
            <p:nvPr userDrawn="1"/>
          </p:nvCxnSpPr>
          <p:spPr>
            <a:xfrm>
              <a:off x="4570080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4" name="Textfeld 90"/>
            <p:cNvSpPr txBox="1"/>
            <p:nvPr userDrawn="1"/>
          </p:nvSpPr>
          <p:spPr>
            <a:xfrm flipH="1">
              <a:off x="5336325" y="2610619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3,8</a:t>
              </a:r>
            </a:p>
          </p:txBody>
        </p:sp>
        <p:cxnSp>
          <p:nvCxnSpPr>
            <p:cNvPr id="186" name="Gerade Verbindung mit Pfeil 79"/>
            <p:cNvCxnSpPr/>
            <p:nvPr userDrawn="1"/>
          </p:nvCxnSpPr>
          <p:spPr>
            <a:xfrm>
              <a:off x="4581832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7" name="Textfeld 85"/>
            <p:cNvSpPr txBox="1"/>
            <p:nvPr userDrawn="1"/>
          </p:nvSpPr>
          <p:spPr>
            <a:xfrm flipH="1">
              <a:off x="4570080" y="2801120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0,25</a:t>
              </a:r>
            </a:p>
          </p:txBody>
        </p:sp>
      </p:grpSp>
      <p:grpSp>
        <p:nvGrpSpPr>
          <p:cNvPr id="201" name="Unten vertikal"/>
          <p:cNvGrpSpPr/>
          <p:nvPr userDrawn="1"/>
        </p:nvGrpSpPr>
        <p:grpSpPr>
          <a:xfrm>
            <a:off x="1928739" y="3429000"/>
            <a:ext cx="979652" cy="2706853"/>
            <a:chOff x="1928739" y="3429000"/>
            <a:chExt cx="979652" cy="2706853"/>
          </a:xfrm>
        </p:grpSpPr>
        <p:cxnSp>
          <p:nvCxnSpPr>
            <p:cNvPr id="202" name="Gerade Verbindung mit Pfeil 102"/>
            <p:cNvCxnSpPr/>
            <p:nvPr userDrawn="1"/>
          </p:nvCxnSpPr>
          <p:spPr>
            <a:xfrm>
              <a:off x="2875434" y="3429000"/>
              <a:ext cx="0" cy="270685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3" name="Textfeld 116"/>
            <p:cNvSpPr txBox="1"/>
            <p:nvPr userDrawn="1"/>
          </p:nvSpPr>
          <p:spPr>
            <a:xfrm>
              <a:off x="1928739" y="3466610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12</a:t>
              </a:r>
            </a:p>
          </p:txBody>
        </p:sp>
        <p:cxnSp>
          <p:nvCxnSpPr>
            <p:cNvPr id="204" name="Gerade Verbindung mit Pfeil 96"/>
            <p:cNvCxnSpPr/>
            <p:nvPr userDrawn="1"/>
          </p:nvCxnSpPr>
          <p:spPr>
            <a:xfrm>
              <a:off x="2011185" y="3429000"/>
              <a:ext cx="0" cy="40291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5" name="Textfeld 117"/>
            <p:cNvSpPr txBox="1"/>
            <p:nvPr userDrawn="1"/>
          </p:nvSpPr>
          <p:spPr>
            <a:xfrm>
              <a:off x="2096786" y="363437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37</a:t>
              </a:r>
            </a:p>
          </p:txBody>
        </p:sp>
        <p:cxnSp>
          <p:nvCxnSpPr>
            <p:cNvPr id="206" name="Gerade Verbindung mit Pfeil 97"/>
            <p:cNvCxnSpPr/>
            <p:nvPr userDrawn="1"/>
          </p:nvCxnSpPr>
          <p:spPr>
            <a:xfrm>
              <a:off x="2165335" y="3429000"/>
              <a:ext cx="0" cy="4937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7" name="Textfeld 118"/>
            <p:cNvSpPr txBox="1"/>
            <p:nvPr/>
          </p:nvSpPr>
          <p:spPr>
            <a:xfrm>
              <a:off x="2115836" y="43265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25</a:t>
              </a:r>
            </a:p>
          </p:txBody>
        </p:sp>
        <p:cxnSp>
          <p:nvCxnSpPr>
            <p:cNvPr id="208" name="Gerade Verbindung mit Pfeil 98"/>
            <p:cNvCxnSpPr/>
            <p:nvPr userDrawn="1"/>
          </p:nvCxnSpPr>
          <p:spPr>
            <a:xfrm>
              <a:off x="2319485" y="3429000"/>
              <a:ext cx="0" cy="117395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9" name="Textfeld 119"/>
            <p:cNvSpPr txBox="1"/>
            <p:nvPr userDrawn="1"/>
          </p:nvSpPr>
          <p:spPr>
            <a:xfrm>
              <a:off x="2395236" y="44408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5</a:t>
              </a:r>
            </a:p>
          </p:txBody>
        </p:sp>
        <p:cxnSp>
          <p:nvCxnSpPr>
            <p:cNvPr id="210" name="Gerade Verbindung mit Pfeil 99"/>
            <p:cNvCxnSpPr/>
            <p:nvPr userDrawn="1"/>
          </p:nvCxnSpPr>
          <p:spPr>
            <a:xfrm>
              <a:off x="2473635" y="3429000"/>
              <a:ext cx="0" cy="126206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1" name="Textfeld 120"/>
            <p:cNvSpPr txBox="1"/>
            <p:nvPr userDrawn="1"/>
          </p:nvSpPr>
          <p:spPr>
            <a:xfrm>
              <a:off x="2420255" y="504170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38</a:t>
              </a:r>
            </a:p>
          </p:txBody>
        </p:sp>
        <p:cxnSp>
          <p:nvCxnSpPr>
            <p:cNvPr id="212" name="Gerade Verbindung mit Pfeil 100"/>
            <p:cNvCxnSpPr/>
            <p:nvPr userDrawn="1"/>
          </p:nvCxnSpPr>
          <p:spPr>
            <a:xfrm>
              <a:off x="2627784" y="3429000"/>
              <a:ext cx="0" cy="19415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3" name="Textfeld 121"/>
            <p:cNvSpPr txBox="1"/>
            <p:nvPr userDrawn="1"/>
          </p:nvSpPr>
          <p:spPr>
            <a:xfrm>
              <a:off x="2686955" y="520176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63</a:t>
              </a:r>
            </a:p>
          </p:txBody>
        </p:sp>
        <p:cxnSp>
          <p:nvCxnSpPr>
            <p:cNvPr id="214" name="Gerade Verbindung mit Pfeil 101"/>
            <p:cNvCxnSpPr/>
            <p:nvPr userDrawn="1"/>
          </p:nvCxnSpPr>
          <p:spPr>
            <a:xfrm>
              <a:off x="2756371" y="3429000"/>
              <a:ext cx="0" cy="203200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5" name="Textfeld 122"/>
            <p:cNvSpPr txBox="1"/>
            <p:nvPr userDrawn="1"/>
          </p:nvSpPr>
          <p:spPr>
            <a:xfrm>
              <a:off x="2655205" y="590661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51</a:t>
              </a:r>
            </a:p>
          </p:txBody>
        </p:sp>
      </p:grpSp>
      <p:grpSp>
        <p:nvGrpSpPr>
          <p:cNvPr id="216" name="Oben vertikal"/>
          <p:cNvGrpSpPr/>
          <p:nvPr userDrawn="1"/>
        </p:nvGrpSpPr>
        <p:grpSpPr>
          <a:xfrm>
            <a:off x="417195" y="1622737"/>
            <a:ext cx="883952" cy="1806266"/>
            <a:chOff x="417195" y="1622737"/>
            <a:chExt cx="883952" cy="1806266"/>
          </a:xfrm>
        </p:grpSpPr>
        <p:cxnSp>
          <p:nvCxnSpPr>
            <p:cNvPr id="217" name="Gerade Verbindung mit Pfeil 22"/>
            <p:cNvCxnSpPr/>
            <p:nvPr/>
          </p:nvCxnSpPr>
          <p:spPr>
            <a:xfrm flipV="1">
              <a:off x="656527" y="3157525"/>
              <a:ext cx="0" cy="27147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8" name="Textfeld 78"/>
            <p:cNvSpPr txBox="1"/>
            <p:nvPr userDrawn="1"/>
          </p:nvSpPr>
          <p:spPr>
            <a:xfrm>
              <a:off x="417195" y="3276985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76</a:t>
              </a:r>
            </a:p>
          </p:txBody>
        </p:sp>
        <p:cxnSp>
          <p:nvCxnSpPr>
            <p:cNvPr id="219" name="Gerade Verbindung mit Pfeil 92"/>
            <p:cNvCxnSpPr/>
            <p:nvPr userDrawn="1"/>
          </p:nvCxnSpPr>
          <p:spPr>
            <a:xfrm flipV="1">
              <a:off x="810677" y="3066100"/>
              <a:ext cx="0" cy="362901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0" name="Textfeld 103"/>
            <p:cNvSpPr txBox="1"/>
            <p:nvPr userDrawn="1"/>
          </p:nvSpPr>
          <p:spPr>
            <a:xfrm>
              <a:off x="738031" y="3175385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01</a:t>
              </a:r>
            </a:p>
          </p:txBody>
        </p:sp>
        <p:cxnSp>
          <p:nvCxnSpPr>
            <p:cNvPr id="221" name="Gerade Verbindung mit Pfeil 93"/>
            <p:cNvCxnSpPr/>
            <p:nvPr userDrawn="1"/>
          </p:nvCxnSpPr>
          <p:spPr>
            <a:xfrm flipV="1">
              <a:off x="964827" y="2388396"/>
              <a:ext cx="0" cy="104060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2" name="Textfeld 112"/>
            <p:cNvSpPr txBox="1"/>
            <p:nvPr userDrawn="1"/>
          </p:nvSpPr>
          <p:spPr>
            <a:xfrm>
              <a:off x="738859" y="25991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2,89</a:t>
              </a:r>
            </a:p>
          </p:txBody>
        </p:sp>
        <p:cxnSp>
          <p:nvCxnSpPr>
            <p:cNvPr id="223" name="Gerade Verbindung mit Pfeil 94"/>
            <p:cNvCxnSpPr/>
            <p:nvPr userDrawn="1"/>
          </p:nvCxnSpPr>
          <p:spPr>
            <a:xfrm flipV="1">
              <a:off x="1118977" y="2295525"/>
              <a:ext cx="0" cy="1133477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4" name="Textfeld 113"/>
            <p:cNvSpPr txBox="1"/>
            <p:nvPr userDrawn="1"/>
          </p:nvSpPr>
          <p:spPr>
            <a:xfrm>
              <a:off x="1048124" y="24340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14</a:t>
              </a:r>
            </a:p>
          </p:txBody>
        </p:sp>
        <p:cxnSp>
          <p:nvCxnSpPr>
            <p:cNvPr id="225" name="Gerade Verbindung mit Pfeil 95"/>
            <p:cNvCxnSpPr/>
            <p:nvPr userDrawn="1"/>
          </p:nvCxnSpPr>
          <p:spPr>
            <a:xfrm flipV="1">
              <a:off x="1273126" y="1622737"/>
              <a:ext cx="0" cy="180626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6" name="Textfeld 115"/>
            <p:cNvSpPr txBox="1"/>
            <p:nvPr/>
          </p:nvSpPr>
          <p:spPr>
            <a:xfrm>
              <a:off x="1018866" y="1665683"/>
              <a:ext cx="28228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02</a:t>
              </a:r>
            </a:p>
          </p:txBody>
        </p:sp>
      </p:grpSp>
      <p:grpSp>
        <p:nvGrpSpPr>
          <p:cNvPr id="227" name="Rasterlinien"/>
          <p:cNvGrpSpPr/>
          <p:nvPr userDrawn="1"/>
        </p:nvGrpSpPr>
        <p:grpSpPr>
          <a:xfrm>
            <a:off x="0" y="0"/>
            <a:ext cx="9149070" cy="6852284"/>
            <a:chOff x="0" y="0"/>
            <a:chExt cx="9149070" cy="6852284"/>
          </a:xfrm>
        </p:grpSpPr>
        <p:cxnSp>
          <p:nvCxnSpPr>
            <p:cNvPr id="228" name="Gerader Verbinder 40"/>
            <p:cNvCxnSpPr/>
            <p:nvPr userDrawn="1"/>
          </p:nvCxnSpPr>
          <p:spPr>
            <a:xfrm>
              <a:off x="174434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9" name="Gerader Verbinder 41"/>
            <p:cNvCxnSpPr/>
            <p:nvPr userDrawn="1"/>
          </p:nvCxnSpPr>
          <p:spPr>
            <a:xfrm>
              <a:off x="302133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0" name="Gerader Verbinder 42"/>
            <p:cNvCxnSpPr/>
            <p:nvPr userDrawn="1"/>
          </p:nvCxnSpPr>
          <p:spPr>
            <a:xfrm>
              <a:off x="3202464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1" name="Gerader Verbinder 43"/>
            <p:cNvCxnSpPr/>
            <p:nvPr userDrawn="1"/>
          </p:nvCxnSpPr>
          <p:spPr>
            <a:xfrm>
              <a:off x="448071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2" name="Gerader Verbinder 44"/>
            <p:cNvCxnSpPr/>
            <p:nvPr userDrawn="1"/>
          </p:nvCxnSpPr>
          <p:spPr>
            <a:xfrm>
              <a:off x="465947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3" name="Gerader Verbinder 45"/>
            <p:cNvCxnSpPr/>
            <p:nvPr userDrawn="1"/>
          </p:nvCxnSpPr>
          <p:spPr>
            <a:xfrm>
              <a:off x="59390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4" name="Gerader Verbinder 46"/>
            <p:cNvCxnSpPr/>
            <p:nvPr userDrawn="1"/>
          </p:nvCxnSpPr>
          <p:spPr>
            <a:xfrm>
              <a:off x="6120130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5" name="Gerader Verbinder 47"/>
            <p:cNvCxnSpPr/>
            <p:nvPr userDrawn="1"/>
          </p:nvCxnSpPr>
          <p:spPr>
            <a:xfrm>
              <a:off x="73977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6" name="Gerader Verbinder 48"/>
            <p:cNvCxnSpPr/>
            <p:nvPr userDrawn="1"/>
          </p:nvCxnSpPr>
          <p:spPr>
            <a:xfrm>
              <a:off x="7576502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7" name="Gerader Verbinder 49"/>
            <p:cNvCxnSpPr/>
            <p:nvPr userDrawn="1"/>
          </p:nvCxnSpPr>
          <p:spPr>
            <a:xfrm>
              <a:off x="1564006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8" name="Gerader Verbinder 50"/>
            <p:cNvCxnSpPr/>
            <p:nvPr userDrawn="1"/>
          </p:nvCxnSpPr>
          <p:spPr>
            <a:xfrm>
              <a:off x="286703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9" name="Gerader Verbinder 51"/>
            <p:cNvCxnSpPr/>
            <p:nvPr userDrawn="1"/>
          </p:nvCxnSpPr>
          <p:spPr>
            <a:xfrm>
              <a:off x="885635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0" name="Gerader Verbinder 52"/>
            <p:cNvCxnSpPr/>
            <p:nvPr userDrawn="1"/>
          </p:nvCxnSpPr>
          <p:spPr>
            <a:xfrm>
              <a:off x="0" y="1034415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1" name="Gerader Verbinder 53"/>
            <p:cNvCxnSpPr/>
            <p:nvPr userDrawn="1"/>
          </p:nvCxnSpPr>
          <p:spPr>
            <a:xfrm>
              <a:off x="0" y="162083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2" name="Gerader Verbinder 54"/>
            <p:cNvCxnSpPr/>
            <p:nvPr userDrawn="1"/>
          </p:nvCxnSpPr>
          <p:spPr>
            <a:xfrm>
              <a:off x="0" y="22955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3" name="Gerader Verbinder 55"/>
            <p:cNvCxnSpPr/>
            <p:nvPr userDrawn="1"/>
          </p:nvCxnSpPr>
          <p:spPr>
            <a:xfrm>
              <a:off x="0" y="238649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4" name="Gerader Verbinder 56"/>
            <p:cNvCxnSpPr/>
            <p:nvPr userDrawn="1"/>
          </p:nvCxnSpPr>
          <p:spPr>
            <a:xfrm>
              <a:off x="0" y="306467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5" name="Gerader Verbinder 57"/>
            <p:cNvCxnSpPr/>
            <p:nvPr userDrawn="1"/>
          </p:nvCxnSpPr>
          <p:spPr>
            <a:xfrm>
              <a:off x="5070" y="315514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6" name="Gerader Verbinder 58"/>
            <p:cNvCxnSpPr/>
            <p:nvPr userDrawn="1"/>
          </p:nvCxnSpPr>
          <p:spPr>
            <a:xfrm>
              <a:off x="0" y="3831910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7" name="Gerader Verbinder 59"/>
            <p:cNvCxnSpPr/>
            <p:nvPr userDrawn="1"/>
          </p:nvCxnSpPr>
          <p:spPr>
            <a:xfrm>
              <a:off x="0" y="392032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8" name="Gerader Verbinder 60"/>
            <p:cNvCxnSpPr/>
            <p:nvPr userDrawn="1"/>
          </p:nvCxnSpPr>
          <p:spPr>
            <a:xfrm>
              <a:off x="0" y="459978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9" name="Gerader Verbinder 61"/>
            <p:cNvCxnSpPr/>
            <p:nvPr userDrawn="1"/>
          </p:nvCxnSpPr>
          <p:spPr>
            <a:xfrm>
              <a:off x="0" y="468773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0" name="Gerader Verbinder 62"/>
            <p:cNvCxnSpPr/>
            <p:nvPr userDrawn="1"/>
          </p:nvCxnSpPr>
          <p:spPr>
            <a:xfrm>
              <a:off x="0" y="53662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1" name="Gerader Verbinder 63"/>
            <p:cNvCxnSpPr/>
            <p:nvPr userDrawn="1"/>
          </p:nvCxnSpPr>
          <p:spPr>
            <a:xfrm>
              <a:off x="0" y="545544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2" name="Gerader Verbinder 64"/>
            <p:cNvCxnSpPr/>
            <p:nvPr userDrawn="1"/>
          </p:nvCxnSpPr>
          <p:spPr>
            <a:xfrm>
              <a:off x="0" y="613267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3" name="Gerader Verbinder 65"/>
            <p:cNvCxnSpPr/>
            <p:nvPr userDrawn="1"/>
          </p:nvCxnSpPr>
          <p:spPr>
            <a:xfrm>
              <a:off x="0" y="33623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54" name="Abstandsbox"/>
          <p:cNvGrpSpPr/>
          <p:nvPr userDrawn="1"/>
        </p:nvGrpSpPr>
        <p:grpSpPr>
          <a:xfrm>
            <a:off x="6967053" y="3831910"/>
            <a:ext cx="1902050" cy="742919"/>
            <a:chOff x="6967053" y="3831910"/>
            <a:chExt cx="1902050" cy="742919"/>
          </a:xfrm>
        </p:grpSpPr>
        <p:sp>
          <p:nvSpPr>
            <p:cNvPr id="255" name="Rechteckige Legende 124"/>
            <p:cNvSpPr/>
            <p:nvPr userDrawn="1"/>
          </p:nvSpPr>
          <p:spPr>
            <a:xfrm>
              <a:off x="6967053" y="4132501"/>
              <a:ext cx="1902050" cy="442328"/>
            </a:xfrm>
            <a:prstGeom prst="wedgeRoundRectCallout">
              <a:avLst>
                <a:gd name="adj1" fmla="val -23390"/>
                <a:gd name="adj2" fmla="val -87045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Horizontal distance: 0,5 cm</a:t>
              </a:r>
            </a:p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Vertical distance: 0,25 cm</a:t>
              </a:r>
            </a:p>
          </p:txBody>
        </p:sp>
        <p:sp>
          <p:nvSpPr>
            <p:cNvPr id="256" name="Rechteck 123"/>
            <p:cNvSpPr/>
            <p:nvPr userDrawn="1"/>
          </p:nvSpPr>
          <p:spPr>
            <a:xfrm>
              <a:off x="7399338" y="3831910"/>
              <a:ext cx="180000" cy="9032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cap="all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7" name="Mittelkreuz"/>
          <p:cNvGrpSpPr/>
          <p:nvPr userDrawn="1"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258" name="Mittellinie vertikal"/>
            <p:cNvCxnSpPr/>
            <p:nvPr userDrawn="1"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59" name="Mittellinie horizontal"/>
            <p:cNvCxnSpPr/>
            <p:nvPr userDrawn="1"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60" name="Rechteckige Legende 16"/>
            <p:cNvSpPr/>
            <p:nvPr userDrawn="1"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Distance of gridlines measured from cen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00348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5628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0" orient="horz" pos="2160" userDrawn="1">
          <p15:clr>
            <a:srgbClr val="FBAE40"/>
          </p15:clr>
        </p15:guide>
        <p15:guide id="1" pos="2880" userDrawn="1">
          <p15:clr>
            <a:srgbClr val="FBAE4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7" name="Textplatzhalter 1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352129"/>
      </p:ext>
    </p:extLst>
  </p:cSld>
  <p:clrMapOvr>
    <a:masterClrMapping/>
  </p:clrMapOvr>
  <p:hf hdr="0" ftr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red head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4106"/>
            <a:ext cx="9144000" cy="4056469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144000" cy="542925"/>
          </a:xfrm>
          <a:solidFill>
            <a:schemeClr val="tx2"/>
          </a:solidFill>
          <a:ln>
            <a:noFill/>
          </a:ln>
        </p:spPr>
        <p:txBody>
          <a:bodyPr vert="horz" lIns="108000" tIns="108000" rIns="108000" bIns="0" rtlCol="0" anchor="ctr" anchorCtr="0">
            <a:noAutofit/>
          </a:bodyPr>
          <a:lstStyle>
            <a:lvl1pPr>
              <a:defRPr lang="de-DE" sz="2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platzhalter 1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437883"/>
      </p:ext>
    </p:extLst>
  </p:cSld>
  <p:clrMapOvr>
    <a:masterClrMapping/>
  </p:clrMapOvr>
  <p:hf hdr="0" ftr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5934075" cy="4605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5938838" y="1"/>
            <a:ext cx="3204781" cy="22986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8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5938838" y="2304288"/>
            <a:ext cx="3204781" cy="230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0383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-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186583499"/>
      </p:ext>
    </p:extLst>
  </p:cSld>
  <p:clrMapOvr>
    <a:masterClrMapping/>
  </p:clrMapOvr>
  <p:hf hdr="0" ftr="0"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1622424"/>
            <a:ext cx="8560062" cy="452008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0" rIns="108000" bIns="0" rtlCol="0" anchor="ctr" anchorCtr="0">
            <a:noAutofit/>
          </a:bodyPr>
          <a:lstStyle>
            <a:lvl1pPr marL="176213" indent="-176213">
              <a:lnSpc>
                <a:spcPct val="100000"/>
              </a:lnSpc>
              <a:spcAft>
                <a:spcPts val="600"/>
              </a:spcAft>
              <a:buSzPct val="100000"/>
              <a:buFont typeface="Arial" panose="020B0604020202020204" pitchFamily="34" charset="0"/>
              <a:buChar char="&gt;"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lvl="0"/>
            <a:r>
              <a:rPr lang="en-US" dirty="0"/>
              <a:t>Insert text for disclaim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940DD-8E32-4B2F-B442-F236D5130E44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788263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agenda/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D69A-4637-442F-95F4-2803350F1BCE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161925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925" y="1996440"/>
            <a:ext cx="8569325" cy="777240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sz="140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sub item or delete/rearrange text boxes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88925" y="281178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88925" y="3188970"/>
            <a:ext cx="8569325" cy="312038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marL="182563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>
                <a:tab pos="8428038" algn="r"/>
              </a:tabLst>
            </a:pPr>
            <a:r>
              <a:rPr lang="en-US" dirty="0"/>
              <a:t>Click to add sub item or delete/rearrange text boxes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88925" y="3543478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88925" y="3927003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4312557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88925" y="4689706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</p:spTree>
    <p:extLst>
      <p:ext uri="{BB962C8B-B14F-4D97-AF65-F5344CB8AC3E}">
        <p14:creationId xmlns:p14="http://schemas.microsoft.com/office/powerpoint/2010/main" val="76419178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600" y="2030400"/>
            <a:ext cx="5370411" cy="2002637"/>
          </a:xfrm>
        </p:spPr>
        <p:txBody>
          <a:bodyPr anchor="t"/>
          <a:lstStyle>
            <a:lvl1pPr algn="l">
              <a:lnSpc>
                <a:spcPct val="100000"/>
              </a:lnSpc>
              <a:defRPr sz="36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968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1151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1261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07754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438" y="2028825"/>
            <a:ext cx="3911600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03909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the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2900"/>
            <a:ext cx="9144000" cy="52390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9438" y="2028825"/>
            <a:ext cx="3902075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79437" y="495300"/>
            <a:ext cx="5864771" cy="542925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Insert contact data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5432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1600" y="1569600"/>
            <a:ext cx="8560062" cy="4572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5C2C-E9DE-45BD-A857-55AECF0C522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15908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/3 - red subtitle under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D5F1A-A1A0-46DE-AB45-63DA9AA4609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121400" y="1475259"/>
            <a:ext cx="2736850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91600" y="1475259"/>
            <a:ext cx="5654675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298518" y="2298700"/>
            <a:ext cx="5654675" cy="2591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035070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8E848-4BA0-46DA-B7E3-A8DA2E7F24E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91600" y="1575950"/>
            <a:ext cx="4192588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60900" y="1572775"/>
            <a:ext cx="4197350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84944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2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4192488" cy="4563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310B4-A1C2-4B60-B54E-E4BD04F93B7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59313" y="1627201"/>
            <a:ext cx="4187825" cy="220502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659313" y="3919789"/>
            <a:ext cx="4187825" cy="22206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5498533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7"/>
            <a:ext cx="5641875" cy="4556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6EAA-2E8F-4E61-AFDE-41C2065B938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21400" y="1627200"/>
            <a:ext cx="2738438" cy="22256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21400" y="3922713"/>
            <a:ext cx="2738438" cy="2225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6102024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ictures 8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622425"/>
            <a:ext cx="1998000" cy="18538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0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86306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41" hasCustomPrompt="1"/>
          </p:nvPr>
        </p:nvSpPr>
        <p:spPr>
          <a:xfrm>
            <a:off x="290390" y="3919761"/>
            <a:ext cx="1998000" cy="18689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4" name="Bildplatzhalter 9"/>
          <p:cNvSpPr>
            <a:spLocks noGrp="1"/>
          </p:cNvSpPr>
          <p:nvPr>
            <p:ph type="pic" sz="quarter" idx="42" hasCustomPrompt="1"/>
          </p:nvPr>
        </p:nvSpPr>
        <p:spPr>
          <a:xfrm>
            <a:off x="6858553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4669268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2486306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9390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platzhalter 12"/>
          <p:cNvSpPr>
            <a:spLocks noGrp="1"/>
          </p:cNvSpPr>
          <p:nvPr>
            <p:ph type="body" sz="quarter" idx="45"/>
          </p:nvPr>
        </p:nvSpPr>
        <p:spPr>
          <a:xfrm>
            <a:off x="2498484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46"/>
          </p:nvPr>
        </p:nvSpPr>
        <p:spPr>
          <a:xfrm>
            <a:off x="4674908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47"/>
          </p:nvPr>
        </p:nvSpPr>
        <p:spPr>
          <a:xfrm>
            <a:off x="6881559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48"/>
          </p:nvPr>
        </p:nvSpPr>
        <p:spPr>
          <a:xfrm>
            <a:off x="299390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49"/>
          </p:nvPr>
        </p:nvSpPr>
        <p:spPr>
          <a:xfrm>
            <a:off x="2498484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50"/>
          </p:nvPr>
        </p:nvSpPr>
        <p:spPr>
          <a:xfrm>
            <a:off x="4674908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51"/>
          </p:nvPr>
        </p:nvSpPr>
        <p:spPr>
          <a:xfrm>
            <a:off x="6881559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2983434"/>
      </p:ext>
    </p:extLst>
  </p:cSld>
  <p:clrMapOvr>
    <a:masterClrMapping/>
  </p:clrMapOvr>
  <p:hf hdr="0" ftr="0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1" y="1575715"/>
            <a:ext cx="5648824" cy="455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F1FA-ABD1-40D0-8304-86742E155357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6121400" y="2298700"/>
            <a:ext cx="2747963" cy="3070226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aseline="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870059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48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2C38B2-42F4-449C-91A0-4D87B86BED1D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3205163" y="1619250"/>
            <a:ext cx="5662052" cy="45148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225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283900537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E9BE2-A349-480E-9FA8-1B0465CE62E4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3209124" y="2298700"/>
            <a:ext cx="5649126" cy="35065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3203575" y="1627694"/>
            <a:ext cx="5654675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69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68222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- 2 objects -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4077073"/>
            <a:ext cx="8559700" cy="20633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20202-3F96-4633-97D4-EB6488CD0176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6121400" y="2298700"/>
            <a:ext cx="2736850" cy="1532351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291600" y="1627200"/>
            <a:ext cx="5651500" cy="22114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116880853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86975"/>
            <a:ext cx="4192488" cy="2245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F93E9-6D02-4271-9DE5-4C5F23ED8FD8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3919540"/>
            <a:ext cx="4187825" cy="220662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4326230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4 - 1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88925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664138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5"/>
          </p:nvPr>
        </p:nvSpPr>
        <p:spPr>
          <a:xfrm>
            <a:off x="288925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6"/>
          </p:nvPr>
        </p:nvSpPr>
        <p:spPr>
          <a:xfrm>
            <a:off x="4664138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644175"/>
      </p:ext>
    </p:extLst>
  </p:cSld>
  <p:clrMapOvr>
    <a:masterClrMapping/>
  </p:clrMapOvr>
  <p:hf hdr="0" ftr="0"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all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842FC-4472-4057-BF49-491306FF850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4605338"/>
            <a:ext cx="4187825" cy="152082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4"/>
          </p:nvPr>
        </p:nvSpPr>
        <p:spPr>
          <a:xfrm>
            <a:off x="290068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288521" y="162451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292100" y="2298700"/>
            <a:ext cx="4195763" cy="15287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600"/>
            </a:lvl1pPr>
            <a:lvl2pPr marL="361950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2pPr>
            <a:lvl3pPr marL="534988" indent="-173038">
              <a:lnSpc>
                <a:spcPct val="100000"/>
              </a:lnSpc>
              <a:spcBef>
                <a:spcPts val="600"/>
              </a:spcBef>
              <a:spcAft>
                <a:spcPts val="567"/>
              </a:spcAft>
              <a:buFont typeface="Wingdings" panose="05000000000000000000" pitchFamily="2" charset="2"/>
              <a:buChar char="§"/>
              <a:defRPr/>
            </a:lvl3pPr>
            <a:lvl4pPr marL="715963" indent="-180975">
              <a:buFont typeface="Wingdings" panose="05000000000000000000" pitchFamily="2" charset="2"/>
              <a:buChar char="§"/>
              <a:defRPr/>
            </a:lvl4pPr>
            <a:lvl5pPr marL="896938" indent="-180975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3165264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 1/1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E93F2-6651-4DAF-8D5B-5B67F320C31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2298701"/>
            <a:ext cx="8560062" cy="350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None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4950" y="5840561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4519"/>
            <a:ext cx="8568408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278033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-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687684999"/>
      </p:ext>
    </p:extLst>
  </p:cSld>
  <p:clrMapOvr>
    <a:masterClrMapping/>
  </p:clrMapOvr>
  <p:hf hdr="0" ftr="0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ictures 8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622425"/>
            <a:ext cx="1998000" cy="18538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0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86306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41" hasCustomPrompt="1"/>
          </p:nvPr>
        </p:nvSpPr>
        <p:spPr>
          <a:xfrm>
            <a:off x="290390" y="3919761"/>
            <a:ext cx="1998000" cy="18689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4" name="Bildplatzhalter 9"/>
          <p:cNvSpPr>
            <a:spLocks noGrp="1"/>
          </p:cNvSpPr>
          <p:nvPr>
            <p:ph type="pic" sz="quarter" idx="42" hasCustomPrompt="1"/>
          </p:nvPr>
        </p:nvSpPr>
        <p:spPr>
          <a:xfrm>
            <a:off x="6858553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4669268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2486306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9390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platzhalter 12"/>
          <p:cNvSpPr>
            <a:spLocks noGrp="1"/>
          </p:cNvSpPr>
          <p:nvPr>
            <p:ph type="body" sz="quarter" idx="45"/>
          </p:nvPr>
        </p:nvSpPr>
        <p:spPr>
          <a:xfrm>
            <a:off x="2498484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46"/>
          </p:nvPr>
        </p:nvSpPr>
        <p:spPr>
          <a:xfrm>
            <a:off x="4674908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47"/>
          </p:nvPr>
        </p:nvSpPr>
        <p:spPr>
          <a:xfrm>
            <a:off x="6881559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48"/>
          </p:nvPr>
        </p:nvSpPr>
        <p:spPr>
          <a:xfrm>
            <a:off x="299390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49"/>
          </p:nvPr>
        </p:nvSpPr>
        <p:spPr>
          <a:xfrm>
            <a:off x="2498484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50"/>
          </p:nvPr>
        </p:nvSpPr>
        <p:spPr>
          <a:xfrm>
            <a:off x="4674908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51"/>
          </p:nvPr>
        </p:nvSpPr>
        <p:spPr>
          <a:xfrm>
            <a:off x="6881559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2233035"/>
      </p:ext>
    </p:extLst>
  </p:cSld>
  <p:clrMapOvr>
    <a:masterClrMapping/>
  </p:clrMapOvr>
  <p:hf hdr="0" ft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s 2 - 1/2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22F0-A202-4EA4-BC9B-1A86C5B70692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91600" y="2292853"/>
            <a:ext cx="4189913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7" hasCustomPrompt="1"/>
          </p:nvPr>
        </p:nvSpPr>
        <p:spPr>
          <a:xfrm>
            <a:off x="4664394" y="2292853"/>
            <a:ext cx="4186236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34490"/>
            <a:ext cx="0" cy="416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cxnSp>
        <p:nvCxnSpPr>
          <p:cNvPr id="13" name="Gerader Verbinder 6"/>
          <p:cNvCxnSpPr/>
          <p:nvPr/>
        </p:nvCxnSpPr>
        <p:spPr>
          <a:xfrm>
            <a:off x="4572000" y="1622138"/>
            <a:ext cx="0" cy="4499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255913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s 2 - 1/2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22F0-A202-4EA4-BC9B-1A86C5B7069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91600" y="2292853"/>
            <a:ext cx="4189913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7" hasCustomPrompt="1"/>
          </p:nvPr>
        </p:nvSpPr>
        <p:spPr>
          <a:xfrm>
            <a:off x="4664394" y="2292853"/>
            <a:ext cx="4186236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34490"/>
            <a:ext cx="0" cy="416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cxnSp>
        <p:nvCxnSpPr>
          <p:cNvPr id="13" name="Gerader Verbinder 6"/>
          <p:cNvCxnSpPr/>
          <p:nvPr/>
        </p:nvCxnSpPr>
        <p:spPr>
          <a:xfrm>
            <a:off x="4572000" y="1622138"/>
            <a:ext cx="0" cy="4499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006462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ress clippings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9" hasCustomPrompt="1"/>
          </p:nvPr>
        </p:nvSpPr>
        <p:spPr>
          <a:xfrm>
            <a:off x="291600" y="2289908"/>
            <a:ext cx="4194969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BBC96-FF81-41A2-A288-3AD332C2BB50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15281"/>
            <a:ext cx="0" cy="4192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11"/>
          <p:cNvSpPr>
            <a:spLocks noGrp="1"/>
          </p:cNvSpPr>
          <p:nvPr>
            <p:ph type="pic" sz="quarter" idx="20" hasCustomPrompt="1"/>
          </p:nvPr>
        </p:nvSpPr>
        <p:spPr>
          <a:xfrm>
            <a:off x="4660900" y="2289908"/>
            <a:ext cx="4202113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5851097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883178595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rganisational char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204046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6121400" y="3493638"/>
            <a:ext cx="2736000" cy="977000"/>
          </a:xfrm>
          <a:noFill/>
          <a:ln>
            <a:solidFill>
              <a:schemeClr val="accent4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310AA-847B-4063-A899-3FA7213427A7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842418"/>
            <a:ext cx="2736000" cy="655879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2842418"/>
            <a:ext cx="2736000" cy="65587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842418"/>
            <a:ext cx="2736000" cy="655879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7" name="Freihandform 16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9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ihandform 17"/>
          <p:cNvSpPr/>
          <p:nvPr userDrawn="1"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31422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text 4 - 1/4 grey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84950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03914" y="234656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03914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052F0-A65C-44FC-B982-E3D1FFB99B1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403913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Rechteck 22"/>
          <p:cNvSpPr/>
          <p:nvPr/>
        </p:nvSpPr>
        <p:spPr>
          <a:xfrm>
            <a:off x="4667169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786133" y="234656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786133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4786132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Rechteck 33"/>
          <p:cNvSpPr/>
          <p:nvPr/>
        </p:nvSpPr>
        <p:spPr>
          <a:xfrm>
            <a:off x="284950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3914" y="455492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3914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403913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Rechteck 37"/>
          <p:cNvSpPr/>
          <p:nvPr/>
        </p:nvSpPr>
        <p:spPr>
          <a:xfrm>
            <a:off x="4667169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786133" y="455492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786133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786132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65000392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288925" y="1619250"/>
            <a:ext cx="8569325" cy="45212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C11DA-F605-427D-918D-A0A0517F685E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91038" y="1620043"/>
            <a:ext cx="1809154" cy="1168028"/>
          </a:xfrm>
          <a:prstGeom prst="callout1">
            <a:avLst>
              <a:gd name="adj1" fmla="val -276"/>
              <a:gd name="adj2" fmla="val 331"/>
              <a:gd name="adj3" fmla="val 167493"/>
              <a:gd name="adj4" fmla="val 176"/>
            </a:avLst>
          </a:prstGeom>
          <a:ln w="6350">
            <a:solidFill>
              <a:schemeClr val="accent1"/>
            </a:solidFill>
          </a:ln>
        </p:spPr>
        <p:txBody>
          <a:bodyPr lIns="72000" tIns="0" rIns="7200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2pPr>
            <a:lvl3pPr marL="180975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400"/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43843335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2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5C694-0345-48C8-93B8-B4E4D0384586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feil nach rechts 6"/>
          <p:cNvSpPr/>
          <p:nvPr/>
        </p:nvSpPr>
        <p:spPr>
          <a:xfrm>
            <a:off x="288925" y="3393469"/>
            <a:ext cx="8569325" cy="635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96863" y="1612900"/>
            <a:ext cx="2579687" cy="1349375"/>
          </a:xfrm>
          <a:ln>
            <a:solidFill>
              <a:schemeClr val="accent1"/>
            </a:solidFill>
          </a:ln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95288" y="3573463"/>
            <a:ext cx="8083550" cy="26511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76443149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2 - text in 8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96AD8-12A9-485B-AC84-50DA55C4164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91600" y="3409749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2543475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91600" y="557543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91600" y="5142297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291600" y="4709160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/>
          </p:nvPr>
        </p:nvSpPr>
        <p:spPr>
          <a:xfrm>
            <a:off x="291600" y="427602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3842886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91600" y="2976612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2369503" y="3409749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2369503" y="2543475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2369503" y="557543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369503" y="5142297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25"/>
          </p:nvPr>
        </p:nvSpPr>
        <p:spPr>
          <a:xfrm>
            <a:off x="2369503" y="4709160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26"/>
          </p:nvPr>
        </p:nvSpPr>
        <p:spPr>
          <a:xfrm>
            <a:off x="2369503" y="427602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369503" y="3842886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369503" y="2976612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  <a:p>
            <a:pPr lvl="0"/>
            <a:endParaRPr lang="en-US" dirty="0"/>
          </a:p>
        </p:txBody>
      </p:sp>
      <p:pic>
        <p:nvPicPr>
          <p:cNvPr id="29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1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66797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bracket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ihandform 30"/>
          <p:cNvSpPr/>
          <p:nvPr/>
        </p:nvSpPr>
        <p:spPr>
          <a:xfrm>
            <a:off x="276225" y="3825753"/>
            <a:ext cx="8582025" cy="266700"/>
          </a:xfrm>
          <a:custGeom>
            <a:avLst/>
            <a:gdLst>
              <a:gd name="connsiteX0" fmla="*/ 0 w 8582025"/>
              <a:gd name="connsiteY0" fmla="*/ 0 h 266700"/>
              <a:gd name="connsiteX1" fmla="*/ 209550 w 8582025"/>
              <a:gd name="connsiteY1" fmla="*/ 266700 h 266700"/>
              <a:gd name="connsiteX2" fmla="*/ 8391525 w 8582025"/>
              <a:gd name="connsiteY2" fmla="*/ 266700 h 266700"/>
              <a:gd name="connsiteX3" fmla="*/ 8582025 w 8582025"/>
              <a:gd name="connsiteY3" fmla="*/ 9525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82025" h="266700">
                <a:moveTo>
                  <a:pt x="0" y="0"/>
                </a:moveTo>
                <a:lnTo>
                  <a:pt x="209550" y="266700"/>
                </a:lnTo>
                <a:lnTo>
                  <a:pt x="8391525" y="266700"/>
                </a:lnTo>
                <a:lnTo>
                  <a:pt x="8582025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88264-8DCA-42F2-B48F-891C7644940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1624184"/>
            <a:ext cx="2736000" cy="343022"/>
          </a:xfrm>
          <a:solidFill>
            <a:schemeClr val="accent2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1624184"/>
            <a:ext cx="2736000" cy="343022"/>
          </a:xfrm>
          <a:solidFill>
            <a:schemeClr val="accent1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1624184"/>
            <a:ext cx="2736000" cy="343022"/>
          </a:xfrm>
          <a:solidFill>
            <a:schemeClr val="accent4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>
          <a:xfrm>
            <a:off x="3194050" y="4556125"/>
            <a:ext cx="3610198" cy="1933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5" hasCustomPrompt="1"/>
          </p:nvPr>
        </p:nvSpPr>
        <p:spPr>
          <a:xfrm>
            <a:off x="2916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3650072" y="3924178"/>
            <a:ext cx="1874428" cy="343022"/>
          </a:xfrm>
          <a:solidFill>
            <a:schemeClr val="tx2"/>
          </a:solidFill>
        </p:spPr>
        <p:txBody>
          <a:bodyPr lIns="72000" tIns="0" rIns="7200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29" hasCustomPrompt="1"/>
          </p:nvPr>
        </p:nvSpPr>
        <p:spPr>
          <a:xfrm>
            <a:off x="3201854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7" name="Bildplatzhalter 14"/>
          <p:cNvSpPr>
            <a:spLocks noGrp="1"/>
          </p:cNvSpPr>
          <p:nvPr>
            <p:ph type="pic" sz="quarter" idx="30" hasCustomPrompt="1"/>
          </p:nvPr>
        </p:nvSpPr>
        <p:spPr>
          <a:xfrm>
            <a:off x="61209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1" hasCustomPrompt="1"/>
          </p:nvPr>
        </p:nvSpPr>
        <p:spPr>
          <a:xfrm>
            <a:off x="288925" y="6202790"/>
            <a:ext cx="27360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2249234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-columns 3 - text &amp; arrows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/>
          <p:cNvSpPr/>
          <p:nvPr/>
        </p:nvSpPr>
        <p:spPr>
          <a:xfrm>
            <a:off x="3197460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120683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6604987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hteck 9"/>
          <p:cNvSpPr/>
          <p:nvPr/>
        </p:nvSpPr>
        <p:spPr>
          <a:xfrm>
            <a:off x="291599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86600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1599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2"/>
          </p:nvPr>
        </p:nvSpPr>
        <p:spPr>
          <a:xfrm>
            <a:off x="781235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33"/>
          </p:nvPr>
        </p:nvSpPr>
        <p:spPr>
          <a:xfrm>
            <a:off x="3693111" y="1645884"/>
            <a:ext cx="2166753" cy="617538"/>
          </a:xfr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6164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36"/>
          </p:nvPr>
        </p:nvSpPr>
        <p:spPr>
          <a:xfrm>
            <a:off x="6118658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206578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126556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Freihandform 34"/>
          <p:cNvSpPr/>
          <p:nvPr/>
        </p:nvSpPr>
        <p:spPr>
          <a:xfrm>
            <a:off x="319386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Textfeld 6"/>
          <p:cNvSpPr txBox="1"/>
          <p:nvPr/>
        </p:nvSpPr>
        <p:spPr>
          <a:xfrm>
            <a:off x="269075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8" name="Textfeld 27"/>
          <p:cNvSpPr txBox="1"/>
          <p:nvPr/>
        </p:nvSpPr>
        <p:spPr>
          <a:xfrm>
            <a:off x="31932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1" name="Textfeld 43"/>
          <p:cNvSpPr txBox="1"/>
          <p:nvPr/>
        </p:nvSpPr>
        <p:spPr>
          <a:xfrm>
            <a:off x="61269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9" name="Freihandform 38"/>
          <p:cNvSpPr/>
          <p:nvPr/>
        </p:nvSpPr>
        <p:spPr>
          <a:xfrm>
            <a:off x="28302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Freihandform 39"/>
          <p:cNvSpPr/>
          <p:nvPr/>
        </p:nvSpPr>
        <p:spPr>
          <a:xfrm>
            <a:off x="611994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631029"/>
      </p:ext>
    </p:extLst>
  </p:cSld>
  <p:clrMapOvr>
    <a:masterClrMapping/>
  </p:clrMapOvr>
  <p:hf hdr="0" ftr="0"/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6259C-38AB-42F9-BFD7-FAEBE525E8C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4950" y="2503115"/>
            <a:ext cx="2729162" cy="349822"/>
          </a:xfrm>
          <a:solidFill>
            <a:schemeClr val="accent2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1250" y="2503115"/>
            <a:ext cx="2745439" cy="349822"/>
          </a:xfrm>
          <a:solidFill>
            <a:schemeClr val="accent1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503115"/>
            <a:ext cx="2727403" cy="349822"/>
          </a:xfrm>
          <a:solidFill>
            <a:schemeClr val="accent4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Gerader Verbinder 17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494112" y="2905125"/>
            <a:ext cx="2520000" cy="126682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2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494112" y="4467225"/>
            <a:ext cx="2520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6" name="Diagrammplatzhalter 7"/>
          <p:cNvSpPr>
            <a:spLocks noGrp="1"/>
          </p:cNvSpPr>
          <p:nvPr>
            <p:ph type="chart" sz="quarter" idx="28"/>
          </p:nvPr>
        </p:nvSpPr>
        <p:spPr>
          <a:xfrm>
            <a:off x="320125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Diagrammplatzhalter 7"/>
          <p:cNvSpPr>
            <a:spLocks noGrp="1"/>
          </p:cNvSpPr>
          <p:nvPr>
            <p:ph type="chart" sz="quarter" idx="29"/>
          </p:nvPr>
        </p:nvSpPr>
        <p:spPr>
          <a:xfrm>
            <a:off x="320125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0" name="Diagrammplatzhalter 7"/>
          <p:cNvSpPr>
            <a:spLocks noGrp="1"/>
          </p:cNvSpPr>
          <p:nvPr>
            <p:ph type="chart" sz="quarter" idx="30"/>
          </p:nvPr>
        </p:nvSpPr>
        <p:spPr>
          <a:xfrm>
            <a:off x="612140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31"/>
          </p:nvPr>
        </p:nvSpPr>
        <p:spPr>
          <a:xfrm>
            <a:off x="612140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2"/>
          </p:nvPr>
        </p:nvSpPr>
        <p:spPr>
          <a:xfrm rot="16200000">
            <a:off x="-304062" y="34726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33"/>
          </p:nvPr>
        </p:nvSpPr>
        <p:spPr>
          <a:xfrm rot="16200000">
            <a:off x="-304062" y="50347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3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32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5" name="Gerader Verbinder 17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4"/>
          <p:cNvCxnSpPr/>
          <p:nvPr userDrawn="1"/>
        </p:nvCxnSpPr>
        <p:spPr>
          <a:xfrm>
            <a:off x="288925" y="4288929"/>
            <a:ext cx="27328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7"/>
          <p:cNvCxnSpPr/>
          <p:nvPr userDrawn="1"/>
        </p:nvCxnSpPr>
        <p:spPr>
          <a:xfrm>
            <a:off x="3201250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1"/>
          <p:cNvCxnSpPr/>
          <p:nvPr userDrawn="1"/>
        </p:nvCxnSpPr>
        <p:spPr>
          <a:xfrm>
            <a:off x="6125425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00438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ress clippings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9" hasCustomPrompt="1"/>
          </p:nvPr>
        </p:nvSpPr>
        <p:spPr>
          <a:xfrm>
            <a:off x="291600" y="2289908"/>
            <a:ext cx="4194969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BBC96-FF81-41A2-A288-3AD332C2BB50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15281"/>
            <a:ext cx="0" cy="4192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11"/>
          <p:cNvSpPr>
            <a:spLocks noGrp="1"/>
          </p:cNvSpPr>
          <p:nvPr>
            <p:ph type="pic" sz="quarter" idx="20" hasCustomPrompt="1"/>
          </p:nvPr>
        </p:nvSpPr>
        <p:spPr>
          <a:xfrm>
            <a:off x="4660900" y="2289908"/>
            <a:ext cx="4202113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5851097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721063041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Gerader Verbinder 29"/>
          <p:cNvCxnSpPr/>
          <p:nvPr/>
        </p:nvCxnSpPr>
        <p:spPr>
          <a:xfrm>
            <a:off x="3483088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291600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291600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24929-C96C-4563-B23F-56BD00E51E1C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777263"/>
            <a:ext cx="2005200" cy="527912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spcBef>
                <a:spcPts val="0"/>
              </a:spcBef>
              <a:buFont typeface="Arial" panose="020B0604020202020204" pitchFamily="34" charset="0"/>
              <a:buNone/>
              <a:tabLst/>
              <a:defRPr lang="de-AT" sz="1200" cap="all" baseline="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cxnSp>
        <p:nvCxnSpPr>
          <p:cNvPr id="43" name="Gerader Verbinder 42"/>
          <p:cNvCxnSpPr/>
          <p:nvPr/>
        </p:nvCxnSpPr>
        <p:spPr>
          <a:xfrm>
            <a:off x="5669616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/>
        </p:nvCxnSpPr>
        <p:spPr>
          <a:xfrm>
            <a:off x="4583857" y="2295922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480885" y="2777263"/>
            <a:ext cx="2005200" cy="52791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4652585" y="2777263"/>
            <a:ext cx="2005200" cy="527912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6852382" y="2777263"/>
            <a:ext cx="2005200" cy="527912"/>
          </a:xfrm>
          <a:solidFill>
            <a:schemeClr val="accent3"/>
          </a:solidFill>
        </p:spPr>
        <p:txBody>
          <a:bodyPr wrap="square" lIns="72000" tIns="36000" rIns="72000" bIns="36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37"/>
          </p:nvPr>
        </p:nvSpPr>
        <p:spPr>
          <a:xfrm rot="16200000">
            <a:off x="-304062" y="3996475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38"/>
          </p:nvPr>
        </p:nvSpPr>
        <p:spPr>
          <a:xfrm rot="16200000">
            <a:off x="-257627" y="5512140"/>
            <a:ext cx="1174206" cy="132125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Diagrammplatzhalter 7"/>
          <p:cNvSpPr>
            <a:spLocks noGrp="1"/>
          </p:cNvSpPr>
          <p:nvPr>
            <p:ph type="chart" sz="quarter" idx="39"/>
          </p:nvPr>
        </p:nvSpPr>
        <p:spPr>
          <a:xfrm>
            <a:off x="24808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40"/>
          </p:nvPr>
        </p:nvSpPr>
        <p:spPr>
          <a:xfrm>
            <a:off x="24808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2" name="Diagrammplatzhalter 7"/>
          <p:cNvSpPr>
            <a:spLocks noGrp="1"/>
          </p:cNvSpPr>
          <p:nvPr>
            <p:ph type="chart" sz="quarter" idx="41"/>
          </p:nvPr>
        </p:nvSpPr>
        <p:spPr>
          <a:xfrm>
            <a:off x="46525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Diagrammplatzhalter 7"/>
          <p:cNvSpPr>
            <a:spLocks noGrp="1"/>
          </p:cNvSpPr>
          <p:nvPr>
            <p:ph type="chart" sz="quarter" idx="42"/>
          </p:nvPr>
        </p:nvSpPr>
        <p:spPr>
          <a:xfrm>
            <a:off x="46525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Diagrammplatzhalter 7"/>
          <p:cNvSpPr>
            <a:spLocks noGrp="1"/>
          </p:cNvSpPr>
          <p:nvPr>
            <p:ph type="chart" sz="quarter" idx="43"/>
          </p:nvPr>
        </p:nvSpPr>
        <p:spPr>
          <a:xfrm>
            <a:off x="6852382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6" name="Diagrammplatzhalter 7"/>
          <p:cNvSpPr>
            <a:spLocks noGrp="1"/>
          </p:cNvSpPr>
          <p:nvPr>
            <p:ph type="chart" sz="quarter" idx="44"/>
          </p:nvPr>
        </p:nvSpPr>
        <p:spPr>
          <a:xfrm>
            <a:off x="6852382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73" name="Freihandform 6"/>
          <p:cNvSpPr/>
          <p:nvPr/>
        </p:nvSpPr>
        <p:spPr>
          <a:xfrm>
            <a:off x="1291480" y="2560712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Freihandform 6"/>
          <p:cNvSpPr/>
          <p:nvPr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0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49" name="Freihandform 6"/>
          <p:cNvSpPr/>
          <p:nvPr userDrawn="1"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56" name="Gerader Verbinder 45"/>
          <p:cNvCxnSpPr/>
          <p:nvPr userDrawn="1"/>
        </p:nvCxnSpPr>
        <p:spPr>
          <a:xfrm>
            <a:off x="282732" y="4777937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3"/>
          <p:cNvCxnSpPr/>
          <p:nvPr userDrawn="1"/>
        </p:nvCxnSpPr>
        <p:spPr>
          <a:xfrm>
            <a:off x="2489199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/>
          <p:cNvCxnSpPr/>
          <p:nvPr userDrawn="1"/>
        </p:nvCxnSpPr>
        <p:spPr>
          <a:xfrm>
            <a:off x="4670424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61"/>
          <p:cNvCxnSpPr/>
          <p:nvPr userDrawn="1"/>
        </p:nvCxnSpPr>
        <p:spPr>
          <a:xfrm>
            <a:off x="6852382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567437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tur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8DBF8-6C51-44BC-AE2F-71860FCD3DEA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07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291600" y="2544763"/>
            <a:ext cx="2005200" cy="153007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78869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1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668813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858756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395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5005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27493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46817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9305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68534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71022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2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24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852097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AEBBD-AC5E-4698-A169-10AEF6D8758F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9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15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69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61172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1208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1262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8180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201780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8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207180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201573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50" name="Textplatzhalt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6133699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5" name="Rechteck 2"/>
          <p:cNvSpPr/>
          <p:nvPr userDrawn="1"/>
        </p:nvSpPr>
        <p:spPr>
          <a:xfrm>
            <a:off x="2875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1" name="Rechteck 43"/>
          <p:cNvSpPr/>
          <p:nvPr userDrawn="1"/>
        </p:nvSpPr>
        <p:spPr>
          <a:xfrm>
            <a:off x="61168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2" name="Rechteck 48"/>
          <p:cNvSpPr/>
          <p:nvPr userDrawn="1"/>
        </p:nvSpPr>
        <p:spPr>
          <a:xfrm>
            <a:off x="3197755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93607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8616D-BF26-4D2D-A112-267FD684263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6790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976824"/>
            <a:ext cx="19980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390" y="4780012"/>
            <a:ext cx="1980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30"/>
          </p:nvPr>
        </p:nvSpPr>
        <p:spPr>
          <a:xfrm>
            <a:off x="6854953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867553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4665668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4678268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2467592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71192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0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480192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4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1" name="Textplatzhalt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2491211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2" name="Textplatzhalter 12"/>
          <p:cNvSpPr>
            <a:spLocks noGrp="1"/>
          </p:cNvSpPr>
          <p:nvPr>
            <p:ph type="body" sz="quarter" idx="43" hasCustomPrompt="1"/>
          </p:nvPr>
        </p:nvSpPr>
        <p:spPr>
          <a:xfrm>
            <a:off x="468274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3" name="Textplatzhalter 12"/>
          <p:cNvSpPr>
            <a:spLocks noGrp="1"/>
          </p:cNvSpPr>
          <p:nvPr>
            <p:ph type="body" sz="quarter" idx="44" hasCustomPrompt="1"/>
          </p:nvPr>
        </p:nvSpPr>
        <p:spPr>
          <a:xfrm>
            <a:off x="686672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5" name="Rechteck 2"/>
          <p:cNvSpPr/>
          <p:nvPr userDrawn="1"/>
        </p:nvSpPr>
        <p:spPr>
          <a:xfrm>
            <a:off x="286790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6" name="Rechteck 22"/>
          <p:cNvSpPr/>
          <p:nvPr userDrawn="1"/>
        </p:nvSpPr>
        <p:spPr>
          <a:xfrm>
            <a:off x="6854953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7" name="Rechteck 27"/>
          <p:cNvSpPr/>
          <p:nvPr userDrawn="1"/>
        </p:nvSpPr>
        <p:spPr>
          <a:xfrm>
            <a:off x="4665668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8" name="Rechteck 33"/>
          <p:cNvSpPr/>
          <p:nvPr userDrawn="1"/>
        </p:nvSpPr>
        <p:spPr>
          <a:xfrm>
            <a:off x="2467592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20076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5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89366-5B56-499E-BA6A-1F79747195A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887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8887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67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7294567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7294567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7305367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7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7864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7864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7972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9"/>
          </p:nvPr>
        </p:nvSpPr>
        <p:spPr>
          <a:xfrm>
            <a:off x="20338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0338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7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0446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43"/>
          </p:nvPr>
        </p:nvSpPr>
        <p:spPr>
          <a:xfrm>
            <a:off x="553233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5532335" y="2093397"/>
            <a:ext cx="1569505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2" name="Diagrammplatzhalter 11"/>
          <p:cNvSpPr>
            <a:spLocks noGrp="1"/>
          </p:cNvSpPr>
          <p:nvPr>
            <p:ph type="chart" sz="quarter" idx="45"/>
          </p:nvPr>
        </p:nvSpPr>
        <p:spPr>
          <a:xfrm>
            <a:off x="554313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Rechteck 26"/>
          <p:cNvSpPr/>
          <p:nvPr/>
        </p:nvSpPr>
        <p:spPr>
          <a:xfrm>
            <a:off x="7294567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7864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0338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53233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2" name="Rechteck 2"/>
          <p:cNvSpPr/>
          <p:nvPr/>
        </p:nvSpPr>
        <p:spPr>
          <a:xfrm>
            <a:off x="28887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81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2" name="Textplatzhalter 12"/>
          <p:cNvSpPr>
            <a:spLocks noGrp="1"/>
          </p:cNvSpPr>
          <p:nvPr>
            <p:ph type="body" sz="quarter" idx="46" hasCustomPrompt="1"/>
          </p:nvPr>
        </p:nvSpPr>
        <p:spPr>
          <a:xfrm>
            <a:off x="2045347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3" name="Textplatzhalt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379857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4" name="Textplatzhalt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555180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5" name="Textplatzhalt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7312593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185511485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38"/>
          </p:nvPr>
        </p:nvSpPr>
        <p:spPr>
          <a:xfrm>
            <a:off x="292789" y="4292600"/>
            <a:ext cx="2528887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0E165-890C-4C3B-B00C-845BA0E51C31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40" y="1626434"/>
            <a:ext cx="2860694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594309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911889" y="1626434"/>
            <a:ext cx="320029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027363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5876144" y="1626434"/>
            <a:ext cx="297942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2912596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585802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6"/>
          <p:cNvSpPr>
            <a:spLocks noGrp="1"/>
          </p:cNvSpPr>
          <p:nvPr>
            <p:ph type="body" sz="quarter" idx="39"/>
          </p:nvPr>
        </p:nvSpPr>
        <p:spPr>
          <a:xfrm>
            <a:off x="3027363" y="4292600"/>
            <a:ext cx="2529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40"/>
          </p:nvPr>
        </p:nvSpPr>
        <p:spPr>
          <a:xfrm>
            <a:off x="5943091" y="4292600"/>
            <a:ext cx="2530800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36243011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7047E-3A29-4B71-A144-C980ADA2BDF1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2148229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805122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4451746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212021" y="1626434"/>
            <a:ext cx="240909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2286554" y="2568087"/>
            <a:ext cx="198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4397667" y="1626434"/>
            <a:ext cx="241400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219395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588224" y="1626434"/>
            <a:ext cx="2264631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6617908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53" name="Gerade Verbindung 52"/>
          <p:cNvCxnSpPr/>
          <p:nvPr/>
        </p:nvCxnSpPr>
        <p:spPr>
          <a:xfrm>
            <a:off x="435915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/>
        </p:nvCxnSpPr>
        <p:spPr>
          <a:xfrm>
            <a:off x="65253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41"/>
          </p:nvPr>
        </p:nvSpPr>
        <p:spPr>
          <a:xfrm>
            <a:off x="292789" y="4292600"/>
            <a:ext cx="1798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42"/>
          </p:nvPr>
        </p:nvSpPr>
        <p:spPr>
          <a:xfrm>
            <a:off x="2284054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43"/>
          </p:nvPr>
        </p:nvSpPr>
        <p:spPr>
          <a:xfrm>
            <a:off x="4454316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6624577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10903726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292789" y="4292600"/>
            <a:ext cx="145346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E2BAD-230E-4195-9428-DBCC11E6CF4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1708615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347975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7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3612039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1763758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1854127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511662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8" name="Gerade Verbindung 47"/>
          <p:cNvCxnSpPr/>
          <p:nvPr userDrawn="1"/>
        </p:nvCxnSpPr>
        <p:spPr>
          <a:xfrm>
            <a:off x="1747792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5259566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5369951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64" name="Gerade Verbindung 63"/>
          <p:cNvCxnSpPr/>
          <p:nvPr/>
        </p:nvCxnSpPr>
        <p:spPr>
          <a:xfrm>
            <a:off x="350609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 userDrawn="1"/>
        </p:nvCxnSpPr>
        <p:spPr>
          <a:xfrm>
            <a:off x="70227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12"/>
          <p:cNvSpPr>
            <a:spLocks noGrp="1"/>
          </p:cNvSpPr>
          <p:nvPr>
            <p:ph type="body" sz="quarter" idx="41"/>
          </p:nvPr>
        </p:nvSpPr>
        <p:spPr>
          <a:xfrm>
            <a:off x="7007469" y="1626434"/>
            <a:ext cx="184210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7" name="Gerade Verbindung 66"/>
          <p:cNvCxnSpPr/>
          <p:nvPr/>
        </p:nvCxnSpPr>
        <p:spPr>
          <a:xfrm>
            <a:off x="5264404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7127862" y="2568087"/>
            <a:ext cx="144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45"/>
          </p:nvPr>
        </p:nvSpPr>
        <p:spPr>
          <a:xfrm>
            <a:off x="1854171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46"/>
          </p:nvPr>
        </p:nvSpPr>
        <p:spPr>
          <a:xfrm>
            <a:off x="3605334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6"/>
          <p:cNvSpPr>
            <a:spLocks noGrp="1"/>
          </p:cNvSpPr>
          <p:nvPr>
            <p:ph type="body" sz="quarter" idx="47"/>
          </p:nvPr>
        </p:nvSpPr>
        <p:spPr>
          <a:xfrm>
            <a:off x="5365122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48"/>
          </p:nvPr>
        </p:nvSpPr>
        <p:spPr>
          <a:xfrm>
            <a:off x="7133537" y="4292600"/>
            <a:ext cx="1542919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4038299155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DDFF4-A2AB-4764-A3CE-715580F2787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872100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2368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rganisational char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204046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6121400" y="3493638"/>
            <a:ext cx="2736000" cy="977000"/>
          </a:xfrm>
          <a:noFill/>
          <a:ln>
            <a:solidFill>
              <a:schemeClr val="accent4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310AA-847B-4063-A899-3FA7213427A7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842418"/>
            <a:ext cx="2736000" cy="655879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2842418"/>
            <a:ext cx="2736000" cy="65587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842418"/>
            <a:ext cx="2736000" cy="655879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7" name="Freihandform 16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Freihandform 17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9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ihandform 17"/>
          <p:cNvSpPr/>
          <p:nvPr userDrawn="1"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23704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gridlines - pls don'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Raster </a:t>
            </a:r>
            <a:r>
              <a:rPr lang="en-US" dirty="0" err="1"/>
              <a:t>nur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neuerlichen</a:t>
            </a:r>
            <a:r>
              <a:rPr lang="en-US" dirty="0"/>
              <a:t> </a:t>
            </a:r>
            <a:r>
              <a:rPr lang="en-US" dirty="0" err="1"/>
              <a:t>Ausrichtung</a:t>
            </a:r>
            <a:r>
              <a:rPr lang="en-US" dirty="0"/>
              <a:t> der </a:t>
            </a:r>
            <a:r>
              <a:rPr lang="en-US" dirty="0" err="1"/>
              <a:t>Hilfslinie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verwenden</a:t>
            </a:r>
            <a:r>
              <a:rPr lang="en-US" dirty="0"/>
              <a:t>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28B82-505B-44E6-AD30-0FE5D7FE48C8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Mittelkreuz"/>
          <p:cNvGrpSpPr/>
          <p:nvPr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37" name="Mittellinie vertikal"/>
            <p:cNvCxnSpPr/>
            <p:nvPr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9" name="Mittellinie horizontal"/>
            <p:cNvCxnSpPr/>
            <p:nvPr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99" name="Rechteckige Legende 16"/>
            <p:cNvSpPr/>
            <p:nvPr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 err="1">
                  <a:solidFill>
                    <a:prstClr val="black"/>
                  </a:solidFill>
                </a:rPr>
                <a:t>Abstand</a:t>
              </a:r>
              <a:r>
                <a:rPr lang="en-US" sz="1050" dirty="0">
                  <a:solidFill>
                    <a:prstClr val="black"/>
                  </a:solidFill>
                </a:rPr>
                <a:t> der </a:t>
              </a:r>
              <a:r>
                <a:rPr lang="en-US" sz="1050" dirty="0" err="1">
                  <a:solidFill>
                    <a:prstClr val="black"/>
                  </a:solidFill>
                </a:rPr>
                <a:t>Hilfslinien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vom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Mittelpunkt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weg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gemessen</a:t>
              </a:r>
              <a:endParaRPr lang="en-US" sz="105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93" name="Links horizontal"/>
          <p:cNvGrpSpPr/>
          <p:nvPr userDrawn="1"/>
        </p:nvGrpSpPr>
        <p:grpSpPr>
          <a:xfrm>
            <a:off x="284950" y="1862906"/>
            <a:ext cx="4372144" cy="1153658"/>
            <a:chOff x="284950" y="1862906"/>
            <a:chExt cx="4372144" cy="1153658"/>
          </a:xfrm>
        </p:grpSpPr>
        <p:cxnSp>
          <p:nvCxnSpPr>
            <p:cNvPr id="94" name="Gerade Verbindung mit Pfeil 6"/>
            <p:cNvCxnSpPr/>
            <p:nvPr/>
          </p:nvCxnSpPr>
          <p:spPr>
            <a:xfrm flipH="1">
              <a:off x="4483100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5" name="Textfeld 15"/>
            <p:cNvSpPr txBox="1"/>
            <p:nvPr userDrawn="1"/>
          </p:nvSpPr>
          <p:spPr>
            <a:xfrm>
              <a:off x="4270450" y="2801120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25</a:t>
              </a:r>
            </a:p>
          </p:txBody>
        </p:sp>
        <p:cxnSp>
          <p:nvCxnSpPr>
            <p:cNvPr id="96" name="Gerade Verbindung mit Pfeil 35"/>
            <p:cNvCxnSpPr/>
            <p:nvPr userDrawn="1"/>
          </p:nvCxnSpPr>
          <p:spPr>
            <a:xfrm flipH="1">
              <a:off x="3205163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7" name="Textfeld 90"/>
            <p:cNvSpPr txBox="1"/>
            <p:nvPr userDrawn="1"/>
          </p:nvSpPr>
          <p:spPr>
            <a:xfrm flipH="1">
              <a:off x="3377476" y="2610619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8</a:t>
              </a:r>
            </a:p>
          </p:txBody>
        </p:sp>
        <p:cxnSp>
          <p:nvCxnSpPr>
            <p:cNvPr id="98" name="Gerade Verbindung mit Pfeil 37"/>
            <p:cNvCxnSpPr/>
            <p:nvPr userDrawn="1"/>
          </p:nvCxnSpPr>
          <p:spPr>
            <a:xfrm flipH="1">
              <a:off x="302260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9" name="Textfeld 77"/>
            <p:cNvSpPr txBox="1"/>
            <p:nvPr userDrawn="1"/>
          </p:nvSpPr>
          <p:spPr>
            <a:xfrm>
              <a:off x="3213008" y="2467744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4,3</a:t>
              </a:r>
            </a:p>
          </p:txBody>
        </p:sp>
        <p:cxnSp>
          <p:nvCxnSpPr>
            <p:cNvPr id="100" name="Gerade Verbindung mit Pfeil 66"/>
            <p:cNvCxnSpPr/>
            <p:nvPr userDrawn="1"/>
          </p:nvCxnSpPr>
          <p:spPr>
            <a:xfrm flipH="1">
              <a:off x="174625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1" name="Textfeld 76"/>
            <p:cNvSpPr txBox="1"/>
            <p:nvPr userDrawn="1"/>
          </p:nvSpPr>
          <p:spPr>
            <a:xfrm>
              <a:off x="1965875" y="2120081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85</a:t>
              </a:r>
            </a:p>
          </p:txBody>
        </p:sp>
        <p:cxnSp>
          <p:nvCxnSpPr>
            <p:cNvPr id="102" name="Gerade Verbindung mit Pfeil 67"/>
            <p:cNvCxnSpPr/>
            <p:nvPr userDrawn="1"/>
          </p:nvCxnSpPr>
          <p:spPr>
            <a:xfrm flipH="1">
              <a:off x="1567181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3" name="Textfeld 75"/>
            <p:cNvSpPr txBox="1"/>
            <p:nvPr userDrawn="1"/>
          </p:nvSpPr>
          <p:spPr>
            <a:xfrm>
              <a:off x="1711781" y="1991494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8,35</a:t>
              </a:r>
            </a:p>
          </p:txBody>
        </p:sp>
        <p:cxnSp>
          <p:nvCxnSpPr>
            <p:cNvPr id="104" name="Gerade Verbindung mit Pfeil 68"/>
            <p:cNvCxnSpPr/>
            <p:nvPr userDrawn="1"/>
          </p:nvCxnSpPr>
          <p:spPr>
            <a:xfrm flipH="1">
              <a:off x="28495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17" name="Textfeld 74"/>
            <p:cNvSpPr txBox="1"/>
            <p:nvPr userDrawn="1"/>
          </p:nvSpPr>
          <p:spPr>
            <a:xfrm>
              <a:off x="468488" y="1862906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1,9</a:t>
              </a:r>
            </a:p>
          </p:txBody>
        </p:sp>
      </p:grpSp>
      <p:grpSp>
        <p:nvGrpSpPr>
          <p:cNvPr id="118" name="Rechts horizontal"/>
          <p:cNvGrpSpPr/>
          <p:nvPr userDrawn="1"/>
        </p:nvGrpSpPr>
        <p:grpSpPr>
          <a:xfrm>
            <a:off x="4570080" y="1862906"/>
            <a:ext cx="4285466" cy="1153658"/>
            <a:chOff x="4570080" y="1862906"/>
            <a:chExt cx="4285466" cy="1153658"/>
          </a:xfrm>
        </p:grpSpPr>
        <p:cxnSp>
          <p:nvCxnSpPr>
            <p:cNvPr id="119" name="Gerade Verbindung mit Pfeil 84"/>
            <p:cNvCxnSpPr/>
            <p:nvPr userDrawn="1"/>
          </p:nvCxnSpPr>
          <p:spPr>
            <a:xfrm>
              <a:off x="457008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0" name="Textfeld 86"/>
            <p:cNvSpPr txBox="1"/>
            <p:nvPr userDrawn="1"/>
          </p:nvSpPr>
          <p:spPr>
            <a:xfrm flipH="1">
              <a:off x="8220426" y="1862906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11,9</a:t>
              </a:r>
            </a:p>
          </p:txBody>
        </p:sp>
        <p:cxnSp>
          <p:nvCxnSpPr>
            <p:cNvPr id="121" name="Gerade Verbindung mit Pfeil 83"/>
            <p:cNvCxnSpPr/>
            <p:nvPr userDrawn="1"/>
          </p:nvCxnSpPr>
          <p:spPr>
            <a:xfrm>
              <a:off x="4570080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2" name="Textfeld 87"/>
            <p:cNvSpPr txBox="1"/>
            <p:nvPr userDrawn="1"/>
          </p:nvSpPr>
          <p:spPr>
            <a:xfrm flipH="1">
              <a:off x="7006560" y="1991494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8,35</a:t>
              </a:r>
            </a:p>
          </p:txBody>
        </p:sp>
        <p:cxnSp>
          <p:nvCxnSpPr>
            <p:cNvPr id="123" name="Gerade Verbindung mit Pfeil 82"/>
            <p:cNvCxnSpPr/>
            <p:nvPr userDrawn="1"/>
          </p:nvCxnSpPr>
          <p:spPr>
            <a:xfrm>
              <a:off x="457008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7" name="Textfeld 88"/>
            <p:cNvSpPr txBox="1"/>
            <p:nvPr userDrawn="1"/>
          </p:nvSpPr>
          <p:spPr>
            <a:xfrm flipH="1">
              <a:off x="6726441" y="2120081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7,85</a:t>
              </a:r>
            </a:p>
          </p:txBody>
        </p:sp>
        <p:cxnSp>
          <p:nvCxnSpPr>
            <p:cNvPr id="130" name="Gerade Verbindung mit Pfeil 81"/>
            <p:cNvCxnSpPr/>
            <p:nvPr userDrawn="1"/>
          </p:nvCxnSpPr>
          <p:spPr>
            <a:xfrm>
              <a:off x="457008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1" name="Textfeld 89"/>
            <p:cNvSpPr txBox="1"/>
            <p:nvPr userDrawn="1"/>
          </p:nvSpPr>
          <p:spPr>
            <a:xfrm flipH="1">
              <a:off x="5550235" y="2467744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4,3</a:t>
              </a:r>
            </a:p>
          </p:txBody>
        </p:sp>
        <p:cxnSp>
          <p:nvCxnSpPr>
            <p:cNvPr id="166" name="Gerade Verbindung mit Pfeil 80"/>
            <p:cNvCxnSpPr/>
            <p:nvPr userDrawn="1"/>
          </p:nvCxnSpPr>
          <p:spPr>
            <a:xfrm>
              <a:off x="4570080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4" name="Textfeld 90"/>
            <p:cNvSpPr txBox="1"/>
            <p:nvPr userDrawn="1"/>
          </p:nvSpPr>
          <p:spPr>
            <a:xfrm flipH="1">
              <a:off x="5336325" y="2610619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3,8</a:t>
              </a:r>
            </a:p>
          </p:txBody>
        </p:sp>
        <p:cxnSp>
          <p:nvCxnSpPr>
            <p:cNvPr id="186" name="Gerade Verbindung mit Pfeil 79"/>
            <p:cNvCxnSpPr/>
            <p:nvPr userDrawn="1"/>
          </p:nvCxnSpPr>
          <p:spPr>
            <a:xfrm>
              <a:off x="4581832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7" name="Textfeld 85"/>
            <p:cNvSpPr txBox="1"/>
            <p:nvPr userDrawn="1"/>
          </p:nvSpPr>
          <p:spPr>
            <a:xfrm flipH="1">
              <a:off x="4570080" y="2801120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0,25</a:t>
              </a:r>
            </a:p>
          </p:txBody>
        </p:sp>
      </p:grpSp>
      <p:grpSp>
        <p:nvGrpSpPr>
          <p:cNvPr id="201" name="Unten vertikal"/>
          <p:cNvGrpSpPr/>
          <p:nvPr userDrawn="1"/>
        </p:nvGrpSpPr>
        <p:grpSpPr>
          <a:xfrm>
            <a:off x="1928739" y="3429000"/>
            <a:ext cx="979652" cy="2706853"/>
            <a:chOff x="1928739" y="3429000"/>
            <a:chExt cx="979652" cy="2706853"/>
          </a:xfrm>
        </p:grpSpPr>
        <p:cxnSp>
          <p:nvCxnSpPr>
            <p:cNvPr id="202" name="Gerade Verbindung mit Pfeil 102"/>
            <p:cNvCxnSpPr/>
            <p:nvPr userDrawn="1"/>
          </p:nvCxnSpPr>
          <p:spPr>
            <a:xfrm>
              <a:off x="2875434" y="3429000"/>
              <a:ext cx="0" cy="270685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3" name="Textfeld 116"/>
            <p:cNvSpPr txBox="1"/>
            <p:nvPr userDrawn="1"/>
          </p:nvSpPr>
          <p:spPr>
            <a:xfrm>
              <a:off x="1928739" y="3466610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12</a:t>
              </a:r>
            </a:p>
          </p:txBody>
        </p:sp>
        <p:cxnSp>
          <p:nvCxnSpPr>
            <p:cNvPr id="204" name="Gerade Verbindung mit Pfeil 96"/>
            <p:cNvCxnSpPr/>
            <p:nvPr userDrawn="1"/>
          </p:nvCxnSpPr>
          <p:spPr>
            <a:xfrm>
              <a:off x="2011185" y="3429000"/>
              <a:ext cx="0" cy="40291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5" name="Textfeld 117"/>
            <p:cNvSpPr txBox="1"/>
            <p:nvPr userDrawn="1"/>
          </p:nvSpPr>
          <p:spPr>
            <a:xfrm>
              <a:off x="2096786" y="363437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37</a:t>
              </a:r>
            </a:p>
          </p:txBody>
        </p:sp>
        <p:cxnSp>
          <p:nvCxnSpPr>
            <p:cNvPr id="206" name="Gerade Verbindung mit Pfeil 97"/>
            <p:cNvCxnSpPr/>
            <p:nvPr userDrawn="1"/>
          </p:nvCxnSpPr>
          <p:spPr>
            <a:xfrm>
              <a:off x="2165335" y="3429000"/>
              <a:ext cx="0" cy="4937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7" name="Textfeld 118"/>
            <p:cNvSpPr txBox="1"/>
            <p:nvPr/>
          </p:nvSpPr>
          <p:spPr>
            <a:xfrm>
              <a:off x="2115836" y="43265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25</a:t>
              </a:r>
            </a:p>
          </p:txBody>
        </p:sp>
        <p:cxnSp>
          <p:nvCxnSpPr>
            <p:cNvPr id="208" name="Gerade Verbindung mit Pfeil 98"/>
            <p:cNvCxnSpPr/>
            <p:nvPr userDrawn="1"/>
          </p:nvCxnSpPr>
          <p:spPr>
            <a:xfrm>
              <a:off x="2319485" y="3429000"/>
              <a:ext cx="0" cy="117395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9" name="Textfeld 119"/>
            <p:cNvSpPr txBox="1"/>
            <p:nvPr userDrawn="1"/>
          </p:nvSpPr>
          <p:spPr>
            <a:xfrm>
              <a:off x="2395236" y="44408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5</a:t>
              </a:r>
            </a:p>
          </p:txBody>
        </p:sp>
        <p:cxnSp>
          <p:nvCxnSpPr>
            <p:cNvPr id="210" name="Gerade Verbindung mit Pfeil 99"/>
            <p:cNvCxnSpPr/>
            <p:nvPr userDrawn="1"/>
          </p:nvCxnSpPr>
          <p:spPr>
            <a:xfrm>
              <a:off x="2473635" y="3429000"/>
              <a:ext cx="0" cy="126206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1" name="Textfeld 120"/>
            <p:cNvSpPr txBox="1"/>
            <p:nvPr userDrawn="1"/>
          </p:nvSpPr>
          <p:spPr>
            <a:xfrm>
              <a:off x="2420255" y="504170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38</a:t>
              </a:r>
            </a:p>
          </p:txBody>
        </p:sp>
        <p:cxnSp>
          <p:nvCxnSpPr>
            <p:cNvPr id="212" name="Gerade Verbindung mit Pfeil 100"/>
            <p:cNvCxnSpPr/>
            <p:nvPr userDrawn="1"/>
          </p:nvCxnSpPr>
          <p:spPr>
            <a:xfrm>
              <a:off x="2627784" y="3429000"/>
              <a:ext cx="0" cy="19415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3" name="Textfeld 121"/>
            <p:cNvSpPr txBox="1"/>
            <p:nvPr userDrawn="1"/>
          </p:nvSpPr>
          <p:spPr>
            <a:xfrm>
              <a:off x="2686955" y="520176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63</a:t>
              </a:r>
            </a:p>
          </p:txBody>
        </p:sp>
        <p:cxnSp>
          <p:nvCxnSpPr>
            <p:cNvPr id="214" name="Gerade Verbindung mit Pfeil 101"/>
            <p:cNvCxnSpPr/>
            <p:nvPr userDrawn="1"/>
          </p:nvCxnSpPr>
          <p:spPr>
            <a:xfrm>
              <a:off x="2756371" y="3429000"/>
              <a:ext cx="0" cy="203200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5" name="Textfeld 122"/>
            <p:cNvSpPr txBox="1"/>
            <p:nvPr userDrawn="1"/>
          </p:nvSpPr>
          <p:spPr>
            <a:xfrm>
              <a:off x="2655205" y="590661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51</a:t>
              </a:r>
            </a:p>
          </p:txBody>
        </p:sp>
      </p:grpSp>
      <p:grpSp>
        <p:nvGrpSpPr>
          <p:cNvPr id="216" name="Oben vertikal"/>
          <p:cNvGrpSpPr/>
          <p:nvPr userDrawn="1"/>
        </p:nvGrpSpPr>
        <p:grpSpPr>
          <a:xfrm>
            <a:off x="417195" y="1622737"/>
            <a:ext cx="883952" cy="1806266"/>
            <a:chOff x="417195" y="1622737"/>
            <a:chExt cx="883952" cy="1806266"/>
          </a:xfrm>
        </p:grpSpPr>
        <p:cxnSp>
          <p:nvCxnSpPr>
            <p:cNvPr id="217" name="Gerade Verbindung mit Pfeil 22"/>
            <p:cNvCxnSpPr/>
            <p:nvPr/>
          </p:nvCxnSpPr>
          <p:spPr>
            <a:xfrm flipV="1">
              <a:off x="656527" y="3157525"/>
              <a:ext cx="0" cy="27147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8" name="Textfeld 78"/>
            <p:cNvSpPr txBox="1"/>
            <p:nvPr userDrawn="1"/>
          </p:nvSpPr>
          <p:spPr>
            <a:xfrm>
              <a:off x="417195" y="3276985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76</a:t>
              </a:r>
            </a:p>
          </p:txBody>
        </p:sp>
        <p:cxnSp>
          <p:nvCxnSpPr>
            <p:cNvPr id="219" name="Gerade Verbindung mit Pfeil 92"/>
            <p:cNvCxnSpPr/>
            <p:nvPr userDrawn="1"/>
          </p:nvCxnSpPr>
          <p:spPr>
            <a:xfrm flipV="1">
              <a:off x="810677" y="3066100"/>
              <a:ext cx="0" cy="362901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0" name="Textfeld 103"/>
            <p:cNvSpPr txBox="1"/>
            <p:nvPr userDrawn="1"/>
          </p:nvSpPr>
          <p:spPr>
            <a:xfrm>
              <a:off x="738031" y="3175385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01</a:t>
              </a:r>
            </a:p>
          </p:txBody>
        </p:sp>
        <p:cxnSp>
          <p:nvCxnSpPr>
            <p:cNvPr id="221" name="Gerade Verbindung mit Pfeil 93"/>
            <p:cNvCxnSpPr/>
            <p:nvPr userDrawn="1"/>
          </p:nvCxnSpPr>
          <p:spPr>
            <a:xfrm flipV="1">
              <a:off x="964827" y="2388396"/>
              <a:ext cx="0" cy="104060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2" name="Textfeld 112"/>
            <p:cNvSpPr txBox="1"/>
            <p:nvPr userDrawn="1"/>
          </p:nvSpPr>
          <p:spPr>
            <a:xfrm>
              <a:off x="738859" y="25991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2,89</a:t>
              </a:r>
            </a:p>
          </p:txBody>
        </p:sp>
        <p:cxnSp>
          <p:nvCxnSpPr>
            <p:cNvPr id="223" name="Gerade Verbindung mit Pfeil 94"/>
            <p:cNvCxnSpPr/>
            <p:nvPr userDrawn="1"/>
          </p:nvCxnSpPr>
          <p:spPr>
            <a:xfrm flipV="1">
              <a:off x="1118977" y="2295525"/>
              <a:ext cx="0" cy="1133477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4" name="Textfeld 113"/>
            <p:cNvSpPr txBox="1"/>
            <p:nvPr userDrawn="1"/>
          </p:nvSpPr>
          <p:spPr>
            <a:xfrm>
              <a:off x="1048124" y="24340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14</a:t>
              </a:r>
            </a:p>
          </p:txBody>
        </p:sp>
        <p:cxnSp>
          <p:nvCxnSpPr>
            <p:cNvPr id="225" name="Gerade Verbindung mit Pfeil 95"/>
            <p:cNvCxnSpPr/>
            <p:nvPr userDrawn="1"/>
          </p:nvCxnSpPr>
          <p:spPr>
            <a:xfrm flipV="1">
              <a:off x="1273126" y="1622737"/>
              <a:ext cx="0" cy="180626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6" name="Textfeld 115"/>
            <p:cNvSpPr txBox="1"/>
            <p:nvPr/>
          </p:nvSpPr>
          <p:spPr>
            <a:xfrm>
              <a:off x="1018866" y="1665683"/>
              <a:ext cx="28228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02</a:t>
              </a:r>
            </a:p>
          </p:txBody>
        </p:sp>
      </p:grpSp>
      <p:grpSp>
        <p:nvGrpSpPr>
          <p:cNvPr id="227" name="Rasterlinien"/>
          <p:cNvGrpSpPr/>
          <p:nvPr userDrawn="1"/>
        </p:nvGrpSpPr>
        <p:grpSpPr>
          <a:xfrm>
            <a:off x="0" y="0"/>
            <a:ext cx="9149070" cy="6852284"/>
            <a:chOff x="0" y="0"/>
            <a:chExt cx="9149070" cy="6852284"/>
          </a:xfrm>
        </p:grpSpPr>
        <p:cxnSp>
          <p:nvCxnSpPr>
            <p:cNvPr id="228" name="Gerader Verbinder 40"/>
            <p:cNvCxnSpPr/>
            <p:nvPr userDrawn="1"/>
          </p:nvCxnSpPr>
          <p:spPr>
            <a:xfrm>
              <a:off x="174434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9" name="Gerader Verbinder 41"/>
            <p:cNvCxnSpPr/>
            <p:nvPr userDrawn="1"/>
          </p:nvCxnSpPr>
          <p:spPr>
            <a:xfrm>
              <a:off x="302133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0" name="Gerader Verbinder 42"/>
            <p:cNvCxnSpPr/>
            <p:nvPr userDrawn="1"/>
          </p:nvCxnSpPr>
          <p:spPr>
            <a:xfrm>
              <a:off x="3202464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1" name="Gerader Verbinder 43"/>
            <p:cNvCxnSpPr/>
            <p:nvPr userDrawn="1"/>
          </p:nvCxnSpPr>
          <p:spPr>
            <a:xfrm>
              <a:off x="448071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2" name="Gerader Verbinder 44"/>
            <p:cNvCxnSpPr/>
            <p:nvPr userDrawn="1"/>
          </p:nvCxnSpPr>
          <p:spPr>
            <a:xfrm>
              <a:off x="465947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3" name="Gerader Verbinder 45"/>
            <p:cNvCxnSpPr/>
            <p:nvPr userDrawn="1"/>
          </p:nvCxnSpPr>
          <p:spPr>
            <a:xfrm>
              <a:off x="59390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4" name="Gerader Verbinder 46"/>
            <p:cNvCxnSpPr/>
            <p:nvPr userDrawn="1"/>
          </p:nvCxnSpPr>
          <p:spPr>
            <a:xfrm>
              <a:off x="6120130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5" name="Gerader Verbinder 47"/>
            <p:cNvCxnSpPr/>
            <p:nvPr userDrawn="1"/>
          </p:nvCxnSpPr>
          <p:spPr>
            <a:xfrm>
              <a:off x="73977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6" name="Gerader Verbinder 48"/>
            <p:cNvCxnSpPr/>
            <p:nvPr userDrawn="1"/>
          </p:nvCxnSpPr>
          <p:spPr>
            <a:xfrm>
              <a:off x="7576502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7" name="Gerader Verbinder 49"/>
            <p:cNvCxnSpPr/>
            <p:nvPr userDrawn="1"/>
          </p:nvCxnSpPr>
          <p:spPr>
            <a:xfrm>
              <a:off x="1564006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8" name="Gerader Verbinder 50"/>
            <p:cNvCxnSpPr/>
            <p:nvPr userDrawn="1"/>
          </p:nvCxnSpPr>
          <p:spPr>
            <a:xfrm>
              <a:off x="286703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9" name="Gerader Verbinder 51"/>
            <p:cNvCxnSpPr/>
            <p:nvPr userDrawn="1"/>
          </p:nvCxnSpPr>
          <p:spPr>
            <a:xfrm>
              <a:off x="885635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0" name="Gerader Verbinder 52"/>
            <p:cNvCxnSpPr/>
            <p:nvPr userDrawn="1"/>
          </p:nvCxnSpPr>
          <p:spPr>
            <a:xfrm>
              <a:off x="0" y="1034415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1" name="Gerader Verbinder 53"/>
            <p:cNvCxnSpPr/>
            <p:nvPr userDrawn="1"/>
          </p:nvCxnSpPr>
          <p:spPr>
            <a:xfrm>
              <a:off x="0" y="162083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2" name="Gerader Verbinder 54"/>
            <p:cNvCxnSpPr/>
            <p:nvPr userDrawn="1"/>
          </p:nvCxnSpPr>
          <p:spPr>
            <a:xfrm>
              <a:off x="0" y="22955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3" name="Gerader Verbinder 55"/>
            <p:cNvCxnSpPr/>
            <p:nvPr userDrawn="1"/>
          </p:nvCxnSpPr>
          <p:spPr>
            <a:xfrm>
              <a:off x="0" y="238649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4" name="Gerader Verbinder 56"/>
            <p:cNvCxnSpPr/>
            <p:nvPr userDrawn="1"/>
          </p:nvCxnSpPr>
          <p:spPr>
            <a:xfrm>
              <a:off x="0" y="306467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5" name="Gerader Verbinder 57"/>
            <p:cNvCxnSpPr/>
            <p:nvPr userDrawn="1"/>
          </p:nvCxnSpPr>
          <p:spPr>
            <a:xfrm>
              <a:off x="5070" y="315514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6" name="Gerader Verbinder 58"/>
            <p:cNvCxnSpPr/>
            <p:nvPr userDrawn="1"/>
          </p:nvCxnSpPr>
          <p:spPr>
            <a:xfrm>
              <a:off x="0" y="3831910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7" name="Gerader Verbinder 59"/>
            <p:cNvCxnSpPr/>
            <p:nvPr userDrawn="1"/>
          </p:nvCxnSpPr>
          <p:spPr>
            <a:xfrm>
              <a:off x="0" y="392032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8" name="Gerader Verbinder 60"/>
            <p:cNvCxnSpPr/>
            <p:nvPr userDrawn="1"/>
          </p:nvCxnSpPr>
          <p:spPr>
            <a:xfrm>
              <a:off x="0" y="459978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9" name="Gerader Verbinder 61"/>
            <p:cNvCxnSpPr/>
            <p:nvPr userDrawn="1"/>
          </p:nvCxnSpPr>
          <p:spPr>
            <a:xfrm>
              <a:off x="0" y="468773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0" name="Gerader Verbinder 62"/>
            <p:cNvCxnSpPr/>
            <p:nvPr userDrawn="1"/>
          </p:nvCxnSpPr>
          <p:spPr>
            <a:xfrm>
              <a:off x="0" y="53662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1" name="Gerader Verbinder 63"/>
            <p:cNvCxnSpPr/>
            <p:nvPr userDrawn="1"/>
          </p:nvCxnSpPr>
          <p:spPr>
            <a:xfrm>
              <a:off x="0" y="545544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2" name="Gerader Verbinder 64"/>
            <p:cNvCxnSpPr/>
            <p:nvPr userDrawn="1"/>
          </p:nvCxnSpPr>
          <p:spPr>
            <a:xfrm>
              <a:off x="0" y="613267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3" name="Gerader Verbinder 65"/>
            <p:cNvCxnSpPr/>
            <p:nvPr userDrawn="1"/>
          </p:nvCxnSpPr>
          <p:spPr>
            <a:xfrm>
              <a:off x="0" y="33623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54" name="Abstandsbox"/>
          <p:cNvGrpSpPr/>
          <p:nvPr userDrawn="1"/>
        </p:nvGrpSpPr>
        <p:grpSpPr>
          <a:xfrm>
            <a:off x="6967053" y="3831910"/>
            <a:ext cx="1902050" cy="742919"/>
            <a:chOff x="6967053" y="3831910"/>
            <a:chExt cx="1902050" cy="742919"/>
          </a:xfrm>
        </p:grpSpPr>
        <p:sp>
          <p:nvSpPr>
            <p:cNvPr id="255" name="Rechteckige Legende 124"/>
            <p:cNvSpPr/>
            <p:nvPr userDrawn="1"/>
          </p:nvSpPr>
          <p:spPr>
            <a:xfrm>
              <a:off x="6967053" y="4132501"/>
              <a:ext cx="1902050" cy="442328"/>
            </a:xfrm>
            <a:prstGeom prst="wedgeRoundRectCallout">
              <a:avLst>
                <a:gd name="adj1" fmla="val -23390"/>
                <a:gd name="adj2" fmla="val -87045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Horizontal distance: 0,5 cm</a:t>
              </a:r>
            </a:p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Vertical distance: 0,25 cm</a:t>
              </a:r>
            </a:p>
          </p:txBody>
        </p:sp>
        <p:sp>
          <p:nvSpPr>
            <p:cNvPr id="256" name="Rechteck 123"/>
            <p:cNvSpPr/>
            <p:nvPr userDrawn="1"/>
          </p:nvSpPr>
          <p:spPr>
            <a:xfrm>
              <a:off x="7399338" y="3831910"/>
              <a:ext cx="180000" cy="9032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cap="all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7" name="Mittelkreuz"/>
          <p:cNvGrpSpPr/>
          <p:nvPr userDrawn="1"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258" name="Mittellinie vertikal"/>
            <p:cNvCxnSpPr/>
            <p:nvPr userDrawn="1"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59" name="Mittellinie horizontal"/>
            <p:cNvCxnSpPr/>
            <p:nvPr userDrawn="1"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60" name="Rechteckige Legende 16"/>
            <p:cNvSpPr/>
            <p:nvPr userDrawn="1"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Distance of gridlines measured from cen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769082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8999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0" orient="horz" pos="2160" userDrawn="1">
          <p15:clr>
            <a:srgbClr val="FBAE40"/>
          </p15:clr>
        </p15:guide>
        <p15:guide id="1" pos="2880" userDrawn="1">
          <p15:clr>
            <a:srgbClr val="FBAE40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7" name="Textplatzhalter 1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759092"/>
      </p:ext>
    </p:extLst>
  </p:cSld>
  <p:clrMapOvr>
    <a:masterClrMapping/>
  </p:clrMapOvr>
  <p:hf hdr="0" ftr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red head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4106"/>
            <a:ext cx="9144000" cy="4056469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144000" cy="542925"/>
          </a:xfrm>
          <a:solidFill>
            <a:schemeClr val="tx2"/>
          </a:solidFill>
          <a:ln>
            <a:noFill/>
          </a:ln>
        </p:spPr>
        <p:txBody>
          <a:bodyPr vert="horz" lIns="108000" tIns="108000" rIns="108000" bIns="0" rtlCol="0" anchor="ctr" anchorCtr="0">
            <a:noAutofit/>
          </a:bodyPr>
          <a:lstStyle>
            <a:lvl1pPr>
              <a:defRPr lang="de-DE" sz="2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platzhalter 1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971241"/>
      </p:ext>
    </p:extLst>
  </p:cSld>
  <p:clrMapOvr>
    <a:masterClrMapping/>
  </p:clrMapOvr>
  <p:hf hdr="0" ftr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5934075" cy="4605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5938838" y="1"/>
            <a:ext cx="3204781" cy="22986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8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5938838" y="2304288"/>
            <a:ext cx="3204781" cy="230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3466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1622424"/>
            <a:ext cx="8560062" cy="452008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0" rIns="108000" bIns="0" rtlCol="0" anchor="ctr" anchorCtr="0">
            <a:noAutofit/>
          </a:bodyPr>
          <a:lstStyle>
            <a:lvl1pPr marL="176213" indent="-176213">
              <a:lnSpc>
                <a:spcPct val="100000"/>
              </a:lnSpc>
              <a:spcAft>
                <a:spcPts val="600"/>
              </a:spcAft>
              <a:buSzPct val="100000"/>
              <a:buFont typeface="Arial" panose="020B0604020202020204" pitchFamily="34" charset="0"/>
              <a:buChar char="&gt;"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lvl="0"/>
            <a:r>
              <a:rPr lang="en-US" dirty="0"/>
              <a:t>Insert text for disclaim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940DD-8E32-4B2F-B442-F236D5130E44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255772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agenda/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D69A-4637-442F-95F4-2803350F1BCE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161925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925" y="1996440"/>
            <a:ext cx="8569325" cy="777240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sz="140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sub item or delete/rearrange text boxes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88925" y="281178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88925" y="3188970"/>
            <a:ext cx="8569325" cy="312038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marL="182563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>
                <a:tab pos="8428038" algn="r"/>
              </a:tabLst>
            </a:pPr>
            <a:r>
              <a:rPr lang="en-US" dirty="0"/>
              <a:t>Click to add sub item or delete/rearrange text boxes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88925" y="3543478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88925" y="3927003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4312557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88925" y="4689706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</p:spTree>
    <p:extLst>
      <p:ext uri="{BB962C8B-B14F-4D97-AF65-F5344CB8AC3E}">
        <p14:creationId xmlns:p14="http://schemas.microsoft.com/office/powerpoint/2010/main" val="55340287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600" y="2030400"/>
            <a:ext cx="5370411" cy="2002637"/>
          </a:xfrm>
        </p:spPr>
        <p:txBody>
          <a:bodyPr anchor="t"/>
          <a:lstStyle>
            <a:lvl1pPr algn="l">
              <a:lnSpc>
                <a:spcPct val="100000"/>
              </a:lnSpc>
              <a:defRPr sz="36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968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1151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1261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937900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438" y="2028825"/>
            <a:ext cx="3911600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307114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the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2900"/>
            <a:ext cx="9144000" cy="52390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9438" y="2028825"/>
            <a:ext cx="3902075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79437" y="495300"/>
            <a:ext cx="5864771" cy="542925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Insert contact data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5242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text 4 - 1/4 grey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84950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03914" y="234656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03914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052F0-A65C-44FC-B982-E3D1FFB99B12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403913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Rechteck 22"/>
          <p:cNvSpPr/>
          <p:nvPr/>
        </p:nvSpPr>
        <p:spPr>
          <a:xfrm>
            <a:off x="4667169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786133" y="234656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786133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4786132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Rechteck 33"/>
          <p:cNvSpPr/>
          <p:nvPr/>
        </p:nvSpPr>
        <p:spPr>
          <a:xfrm>
            <a:off x="284950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3914" y="455492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3914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403913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Rechteck 37"/>
          <p:cNvSpPr/>
          <p:nvPr/>
        </p:nvSpPr>
        <p:spPr>
          <a:xfrm>
            <a:off x="4667169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786133" y="455492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786133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786132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953380828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1600" y="1569600"/>
            <a:ext cx="8560062" cy="4572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5C2C-E9DE-45BD-A857-55AECF0C522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292536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/3 - red subtitle under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D5F1A-A1A0-46DE-AB45-63DA9AA4609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121400" y="1475259"/>
            <a:ext cx="2736850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91600" y="1475259"/>
            <a:ext cx="5654675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298518" y="2298700"/>
            <a:ext cx="5654675" cy="2591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5496357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8E848-4BA0-46DA-B7E3-A8DA2E7F24E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91600" y="1575950"/>
            <a:ext cx="4192588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60900" y="1572775"/>
            <a:ext cx="4197350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38605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2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4192488" cy="4563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310B4-A1C2-4B60-B54E-E4BD04F93B7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59313" y="1627201"/>
            <a:ext cx="4187825" cy="220502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659313" y="3919789"/>
            <a:ext cx="4187825" cy="22206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697662160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7"/>
            <a:ext cx="5641875" cy="4556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6EAA-2E8F-4E61-AFDE-41C2065B938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21400" y="1627200"/>
            <a:ext cx="2738438" cy="22256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21400" y="3922713"/>
            <a:ext cx="2738438" cy="2225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64999274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1" y="1575715"/>
            <a:ext cx="5648824" cy="455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F1FA-ABD1-40D0-8304-86742E155357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6121400" y="2298700"/>
            <a:ext cx="2747963" cy="3070226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aseline="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3318328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48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2C38B2-42F4-449C-91A0-4D87B86BED1D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3205163" y="1619250"/>
            <a:ext cx="5662052" cy="45148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225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379778889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E9BE2-A349-480E-9FA8-1B0465CE62E4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3209124" y="2298700"/>
            <a:ext cx="5649126" cy="35065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3203575" y="1627694"/>
            <a:ext cx="5654675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69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716044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- 2 objects -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4077073"/>
            <a:ext cx="8559700" cy="20633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20202-3F96-4633-97D4-EB6488CD0176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6121400" y="2298700"/>
            <a:ext cx="2736850" cy="1532351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291600" y="1627200"/>
            <a:ext cx="5651500" cy="22114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3692595926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86975"/>
            <a:ext cx="4192488" cy="2245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F93E9-6D02-4271-9DE5-4C5F23ED8FD8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3919540"/>
            <a:ext cx="4187825" cy="220662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7734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288925" y="1619250"/>
            <a:ext cx="8569325" cy="45212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C11DA-F605-427D-918D-A0A0517F685E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91038" y="1620043"/>
            <a:ext cx="1809154" cy="1168028"/>
          </a:xfrm>
          <a:prstGeom prst="callout1">
            <a:avLst>
              <a:gd name="adj1" fmla="val -276"/>
              <a:gd name="adj2" fmla="val 331"/>
              <a:gd name="adj3" fmla="val 167493"/>
              <a:gd name="adj4" fmla="val 176"/>
            </a:avLst>
          </a:prstGeom>
          <a:ln w="6350">
            <a:solidFill>
              <a:schemeClr val="accent1"/>
            </a:solidFill>
          </a:ln>
        </p:spPr>
        <p:txBody>
          <a:bodyPr lIns="72000" tIns="0" rIns="7200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2pPr>
            <a:lvl3pPr marL="180975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400"/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858816694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4 - 1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88925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664138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5"/>
          </p:nvPr>
        </p:nvSpPr>
        <p:spPr>
          <a:xfrm>
            <a:off x="288925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6"/>
          </p:nvPr>
        </p:nvSpPr>
        <p:spPr>
          <a:xfrm>
            <a:off x="4664138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5652121"/>
      </p:ext>
    </p:extLst>
  </p:cSld>
  <p:clrMapOvr>
    <a:masterClrMapping/>
  </p:clrMapOvr>
  <p:hf hdr="0" ftr="0"/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all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842FC-4472-4057-BF49-491306FF850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4605338"/>
            <a:ext cx="4187825" cy="152082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4"/>
          </p:nvPr>
        </p:nvSpPr>
        <p:spPr>
          <a:xfrm>
            <a:off x="290068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288521" y="162451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292100" y="2298700"/>
            <a:ext cx="4195763" cy="15287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600"/>
            </a:lvl1pPr>
            <a:lvl2pPr marL="361950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2pPr>
            <a:lvl3pPr marL="534988" indent="-173038">
              <a:lnSpc>
                <a:spcPct val="100000"/>
              </a:lnSpc>
              <a:spcBef>
                <a:spcPts val="600"/>
              </a:spcBef>
              <a:spcAft>
                <a:spcPts val="567"/>
              </a:spcAft>
              <a:buFont typeface="Wingdings" panose="05000000000000000000" pitchFamily="2" charset="2"/>
              <a:buChar char="§"/>
              <a:defRPr/>
            </a:lvl3pPr>
            <a:lvl4pPr marL="715963" indent="-180975">
              <a:buFont typeface="Wingdings" panose="05000000000000000000" pitchFamily="2" charset="2"/>
              <a:buChar char="§"/>
              <a:defRPr/>
            </a:lvl4pPr>
            <a:lvl5pPr marL="896938" indent="-180975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4448187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 1/1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E93F2-6651-4DAF-8D5B-5B67F320C31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2298701"/>
            <a:ext cx="8560062" cy="350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None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4950" y="5840561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4519"/>
            <a:ext cx="8568408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004066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-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184350926"/>
      </p:ext>
    </p:extLst>
  </p:cSld>
  <p:clrMapOvr>
    <a:masterClrMapping/>
  </p:clrMapOvr>
  <p:hf hdr="0" ftr="0"/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ictures 8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622425"/>
            <a:ext cx="1998000" cy="18538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0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86306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41" hasCustomPrompt="1"/>
          </p:nvPr>
        </p:nvSpPr>
        <p:spPr>
          <a:xfrm>
            <a:off x="290390" y="3919761"/>
            <a:ext cx="1998000" cy="18689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4" name="Bildplatzhalter 9"/>
          <p:cNvSpPr>
            <a:spLocks noGrp="1"/>
          </p:cNvSpPr>
          <p:nvPr>
            <p:ph type="pic" sz="quarter" idx="42" hasCustomPrompt="1"/>
          </p:nvPr>
        </p:nvSpPr>
        <p:spPr>
          <a:xfrm>
            <a:off x="6858553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4669268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2486306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9390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platzhalter 12"/>
          <p:cNvSpPr>
            <a:spLocks noGrp="1"/>
          </p:cNvSpPr>
          <p:nvPr>
            <p:ph type="body" sz="quarter" idx="45"/>
          </p:nvPr>
        </p:nvSpPr>
        <p:spPr>
          <a:xfrm>
            <a:off x="2498484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46"/>
          </p:nvPr>
        </p:nvSpPr>
        <p:spPr>
          <a:xfrm>
            <a:off x="4674908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47"/>
          </p:nvPr>
        </p:nvSpPr>
        <p:spPr>
          <a:xfrm>
            <a:off x="6881559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48"/>
          </p:nvPr>
        </p:nvSpPr>
        <p:spPr>
          <a:xfrm>
            <a:off x="299390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49"/>
          </p:nvPr>
        </p:nvSpPr>
        <p:spPr>
          <a:xfrm>
            <a:off x="2498484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50"/>
          </p:nvPr>
        </p:nvSpPr>
        <p:spPr>
          <a:xfrm>
            <a:off x="4674908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51"/>
          </p:nvPr>
        </p:nvSpPr>
        <p:spPr>
          <a:xfrm>
            <a:off x="6881559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608808"/>
      </p:ext>
    </p:extLst>
  </p:cSld>
  <p:clrMapOvr>
    <a:masterClrMapping/>
  </p:clrMapOvr>
  <p:hf hdr="0" ftr="0"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s 2 - 1/2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22F0-A202-4EA4-BC9B-1A86C5B7069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91600" y="2292853"/>
            <a:ext cx="4189913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7" hasCustomPrompt="1"/>
          </p:nvPr>
        </p:nvSpPr>
        <p:spPr>
          <a:xfrm>
            <a:off x="4664394" y="2292853"/>
            <a:ext cx="4186236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34490"/>
            <a:ext cx="0" cy="416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cxnSp>
        <p:nvCxnSpPr>
          <p:cNvPr id="13" name="Gerader Verbinder 6"/>
          <p:cNvCxnSpPr/>
          <p:nvPr/>
        </p:nvCxnSpPr>
        <p:spPr>
          <a:xfrm>
            <a:off x="4572000" y="1622138"/>
            <a:ext cx="0" cy="4499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9153104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ress clippings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9" hasCustomPrompt="1"/>
          </p:nvPr>
        </p:nvSpPr>
        <p:spPr>
          <a:xfrm>
            <a:off x="291600" y="2289908"/>
            <a:ext cx="4194969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BBC96-FF81-41A2-A288-3AD332C2BB50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15281"/>
            <a:ext cx="0" cy="4192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11"/>
          <p:cNvSpPr>
            <a:spLocks noGrp="1"/>
          </p:cNvSpPr>
          <p:nvPr>
            <p:ph type="pic" sz="quarter" idx="20" hasCustomPrompt="1"/>
          </p:nvPr>
        </p:nvSpPr>
        <p:spPr>
          <a:xfrm>
            <a:off x="4660900" y="2289908"/>
            <a:ext cx="4202113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5851097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318619551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rganisational char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204046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6121400" y="3493638"/>
            <a:ext cx="2736000" cy="977000"/>
          </a:xfrm>
          <a:noFill/>
          <a:ln>
            <a:solidFill>
              <a:schemeClr val="accent4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310AA-847B-4063-A899-3FA7213427A7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842418"/>
            <a:ext cx="2736000" cy="655879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2842418"/>
            <a:ext cx="2736000" cy="65587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842418"/>
            <a:ext cx="2736000" cy="655879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7" name="Freihandform 16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9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ihandform 17"/>
          <p:cNvSpPr/>
          <p:nvPr userDrawn="1"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24106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text 4 - 1/4 grey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84950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03914" y="234656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03914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052F0-A65C-44FC-B982-E3D1FFB99B1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403913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Rechteck 22"/>
          <p:cNvSpPr/>
          <p:nvPr/>
        </p:nvSpPr>
        <p:spPr>
          <a:xfrm>
            <a:off x="4667169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786133" y="234656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786133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4786132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Rechteck 33"/>
          <p:cNvSpPr/>
          <p:nvPr/>
        </p:nvSpPr>
        <p:spPr>
          <a:xfrm>
            <a:off x="284950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3914" y="455492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3914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403913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Rechteck 37"/>
          <p:cNvSpPr/>
          <p:nvPr/>
        </p:nvSpPr>
        <p:spPr>
          <a:xfrm>
            <a:off x="4667169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786133" y="455492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786133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786132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70014458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288925" y="1619250"/>
            <a:ext cx="8569325" cy="45212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C11DA-F605-427D-918D-A0A0517F685E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91038" y="1620043"/>
            <a:ext cx="1809154" cy="1168028"/>
          </a:xfrm>
          <a:prstGeom prst="callout1">
            <a:avLst>
              <a:gd name="adj1" fmla="val -276"/>
              <a:gd name="adj2" fmla="val 331"/>
              <a:gd name="adj3" fmla="val 167493"/>
              <a:gd name="adj4" fmla="val 176"/>
            </a:avLst>
          </a:prstGeom>
          <a:ln w="6350">
            <a:solidFill>
              <a:schemeClr val="accent1"/>
            </a:solidFill>
          </a:ln>
        </p:spPr>
        <p:txBody>
          <a:bodyPr lIns="72000" tIns="0" rIns="7200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2pPr>
            <a:lvl3pPr marL="180975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400"/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1811102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red head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4106"/>
            <a:ext cx="9144000" cy="4056469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144000" cy="542925"/>
          </a:xfrm>
          <a:solidFill>
            <a:schemeClr val="tx2"/>
          </a:solidFill>
          <a:ln>
            <a:noFill/>
          </a:ln>
        </p:spPr>
        <p:txBody>
          <a:bodyPr vert="horz" lIns="108000" tIns="108000" rIns="108000" bIns="0" rtlCol="0" anchor="ctr" anchorCtr="0">
            <a:noAutofit/>
          </a:bodyPr>
          <a:lstStyle>
            <a:lvl1pPr>
              <a:defRPr lang="de-DE" sz="2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platzhalter 1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871994"/>
      </p:ext>
    </p:extLst>
  </p:cSld>
  <p:clrMapOvr>
    <a:masterClrMapping/>
  </p:clrMapOvr>
  <p:hf hdr="0" ftr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2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5C694-0345-48C8-93B8-B4E4D0384586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feil nach rechts 6"/>
          <p:cNvSpPr/>
          <p:nvPr/>
        </p:nvSpPr>
        <p:spPr>
          <a:xfrm>
            <a:off x="288925" y="3393469"/>
            <a:ext cx="8569325" cy="635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96863" y="1612900"/>
            <a:ext cx="2579687" cy="1349375"/>
          </a:xfrm>
          <a:ln>
            <a:solidFill>
              <a:schemeClr val="accent1"/>
            </a:solidFill>
          </a:ln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95288" y="3573463"/>
            <a:ext cx="8083550" cy="26511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796438137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2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5C694-0345-48C8-93B8-B4E4D0384586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feil nach rechts 6"/>
          <p:cNvSpPr/>
          <p:nvPr/>
        </p:nvSpPr>
        <p:spPr>
          <a:xfrm>
            <a:off x="288925" y="3393469"/>
            <a:ext cx="8569325" cy="635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96863" y="1612900"/>
            <a:ext cx="2579687" cy="1349375"/>
          </a:xfrm>
          <a:ln>
            <a:solidFill>
              <a:schemeClr val="accent1"/>
            </a:solidFill>
          </a:ln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95288" y="3573463"/>
            <a:ext cx="8083550" cy="26511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04788715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2 - text in 8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96AD8-12A9-485B-AC84-50DA55C4164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91600" y="3409749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2543475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91600" y="557543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91600" y="5142297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291600" y="4709160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/>
          </p:nvPr>
        </p:nvSpPr>
        <p:spPr>
          <a:xfrm>
            <a:off x="291600" y="427602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3842886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91600" y="2976612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2369503" y="3409749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2369503" y="2543475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2369503" y="557543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369503" y="5142297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25"/>
          </p:nvPr>
        </p:nvSpPr>
        <p:spPr>
          <a:xfrm>
            <a:off x="2369503" y="4709160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26"/>
          </p:nvPr>
        </p:nvSpPr>
        <p:spPr>
          <a:xfrm>
            <a:off x="2369503" y="427602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369503" y="3842886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369503" y="2976612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  <a:p>
            <a:pPr lvl="0"/>
            <a:endParaRPr lang="en-US" dirty="0"/>
          </a:p>
        </p:txBody>
      </p:sp>
      <p:pic>
        <p:nvPicPr>
          <p:cNvPr id="29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1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08562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bracket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ihandform 30"/>
          <p:cNvSpPr/>
          <p:nvPr/>
        </p:nvSpPr>
        <p:spPr>
          <a:xfrm>
            <a:off x="276225" y="3825753"/>
            <a:ext cx="8582025" cy="266700"/>
          </a:xfrm>
          <a:custGeom>
            <a:avLst/>
            <a:gdLst>
              <a:gd name="connsiteX0" fmla="*/ 0 w 8582025"/>
              <a:gd name="connsiteY0" fmla="*/ 0 h 266700"/>
              <a:gd name="connsiteX1" fmla="*/ 209550 w 8582025"/>
              <a:gd name="connsiteY1" fmla="*/ 266700 h 266700"/>
              <a:gd name="connsiteX2" fmla="*/ 8391525 w 8582025"/>
              <a:gd name="connsiteY2" fmla="*/ 266700 h 266700"/>
              <a:gd name="connsiteX3" fmla="*/ 8582025 w 8582025"/>
              <a:gd name="connsiteY3" fmla="*/ 9525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82025" h="266700">
                <a:moveTo>
                  <a:pt x="0" y="0"/>
                </a:moveTo>
                <a:lnTo>
                  <a:pt x="209550" y="266700"/>
                </a:lnTo>
                <a:lnTo>
                  <a:pt x="8391525" y="266700"/>
                </a:lnTo>
                <a:lnTo>
                  <a:pt x="8582025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88264-8DCA-42F2-B48F-891C7644940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1624184"/>
            <a:ext cx="2736000" cy="343022"/>
          </a:xfrm>
          <a:solidFill>
            <a:schemeClr val="accent2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1624184"/>
            <a:ext cx="2736000" cy="343022"/>
          </a:xfrm>
          <a:solidFill>
            <a:schemeClr val="accent1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1624184"/>
            <a:ext cx="2736000" cy="343022"/>
          </a:xfrm>
          <a:solidFill>
            <a:schemeClr val="accent4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>
          <a:xfrm>
            <a:off x="3194050" y="4556125"/>
            <a:ext cx="3610198" cy="1933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5" hasCustomPrompt="1"/>
          </p:nvPr>
        </p:nvSpPr>
        <p:spPr>
          <a:xfrm>
            <a:off x="2916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3650072" y="3924178"/>
            <a:ext cx="1874428" cy="343022"/>
          </a:xfrm>
          <a:solidFill>
            <a:schemeClr val="tx2"/>
          </a:solidFill>
        </p:spPr>
        <p:txBody>
          <a:bodyPr lIns="72000" tIns="0" rIns="7200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29" hasCustomPrompt="1"/>
          </p:nvPr>
        </p:nvSpPr>
        <p:spPr>
          <a:xfrm>
            <a:off x="3201854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7" name="Bildplatzhalter 14"/>
          <p:cNvSpPr>
            <a:spLocks noGrp="1"/>
          </p:cNvSpPr>
          <p:nvPr>
            <p:ph type="pic" sz="quarter" idx="30" hasCustomPrompt="1"/>
          </p:nvPr>
        </p:nvSpPr>
        <p:spPr>
          <a:xfrm>
            <a:off x="61209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1" hasCustomPrompt="1"/>
          </p:nvPr>
        </p:nvSpPr>
        <p:spPr>
          <a:xfrm>
            <a:off x="288925" y="6202790"/>
            <a:ext cx="27360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587979128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-columns 3 - text &amp; arrows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/>
          <p:cNvSpPr/>
          <p:nvPr/>
        </p:nvSpPr>
        <p:spPr>
          <a:xfrm>
            <a:off x="3197460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120683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6604987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hteck 9"/>
          <p:cNvSpPr/>
          <p:nvPr/>
        </p:nvSpPr>
        <p:spPr>
          <a:xfrm>
            <a:off x="291599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86600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1599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2"/>
          </p:nvPr>
        </p:nvSpPr>
        <p:spPr>
          <a:xfrm>
            <a:off x="781235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33"/>
          </p:nvPr>
        </p:nvSpPr>
        <p:spPr>
          <a:xfrm>
            <a:off x="3693111" y="1645884"/>
            <a:ext cx="2166753" cy="617538"/>
          </a:xfr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6164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36"/>
          </p:nvPr>
        </p:nvSpPr>
        <p:spPr>
          <a:xfrm>
            <a:off x="6118658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206578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126556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Freihandform 34"/>
          <p:cNvSpPr/>
          <p:nvPr/>
        </p:nvSpPr>
        <p:spPr>
          <a:xfrm>
            <a:off x="319386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Textfeld 6"/>
          <p:cNvSpPr txBox="1"/>
          <p:nvPr/>
        </p:nvSpPr>
        <p:spPr>
          <a:xfrm>
            <a:off x="269075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8" name="Textfeld 27"/>
          <p:cNvSpPr txBox="1"/>
          <p:nvPr/>
        </p:nvSpPr>
        <p:spPr>
          <a:xfrm>
            <a:off x="31932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1" name="Textfeld 43"/>
          <p:cNvSpPr txBox="1"/>
          <p:nvPr/>
        </p:nvSpPr>
        <p:spPr>
          <a:xfrm>
            <a:off x="61269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9" name="Freihandform 38"/>
          <p:cNvSpPr/>
          <p:nvPr/>
        </p:nvSpPr>
        <p:spPr>
          <a:xfrm>
            <a:off x="28302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Freihandform 39"/>
          <p:cNvSpPr/>
          <p:nvPr/>
        </p:nvSpPr>
        <p:spPr>
          <a:xfrm>
            <a:off x="611994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681242"/>
      </p:ext>
    </p:extLst>
  </p:cSld>
  <p:clrMapOvr>
    <a:masterClrMapping/>
  </p:clrMapOvr>
  <p:hf hdr="0" ftr="0"/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6259C-38AB-42F9-BFD7-FAEBE525E8C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4950" y="2503115"/>
            <a:ext cx="2729162" cy="349822"/>
          </a:xfrm>
          <a:solidFill>
            <a:schemeClr val="accent2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1250" y="2503115"/>
            <a:ext cx="2745439" cy="349822"/>
          </a:xfrm>
          <a:solidFill>
            <a:schemeClr val="accent1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503115"/>
            <a:ext cx="2727403" cy="349822"/>
          </a:xfrm>
          <a:solidFill>
            <a:schemeClr val="accent4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Gerader Verbinder 17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494112" y="2905125"/>
            <a:ext cx="2520000" cy="126682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2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494112" y="4467225"/>
            <a:ext cx="2520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6" name="Diagrammplatzhalter 7"/>
          <p:cNvSpPr>
            <a:spLocks noGrp="1"/>
          </p:cNvSpPr>
          <p:nvPr>
            <p:ph type="chart" sz="quarter" idx="28"/>
          </p:nvPr>
        </p:nvSpPr>
        <p:spPr>
          <a:xfrm>
            <a:off x="320125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Diagrammplatzhalter 7"/>
          <p:cNvSpPr>
            <a:spLocks noGrp="1"/>
          </p:cNvSpPr>
          <p:nvPr>
            <p:ph type="chart" sz="quarter" idx="29"/>
          </p:nvPr>
        </p:nvSpPr>
        <p:spPr>
          <a:xfrm>
            <a:off x="320125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0" name="Diagrammplatzhalter 7"/>
          <p:cNvSpPr>
            <a:spLocks noGrp="1"/>
          </p:cNvSpPr>
          <p:nvPr>
            <p:ph type="chart" sz="quarter" idx="30"/>
          </p:nvPr>
        </p:nvSpPr>
        <p:spPr>
          <a:xfrm>
            <a:off x="612140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31"/>
          </p:nvPr>
        </p:nvSpPr>
        <p:spPr>
          <a:xfrm>
            <a:off x="612140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2"/>
          </p:nvPr>
        </p:nvSpPr>
        <p:spPr>
          <a:xfrm rot="16200000">
            <a:off x="-304062" y="34726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33"/>
          </p:nvPr>
        </p:nvSpPr>
        <p:spPr>
          <a:xfrm rot="16200000">
            <a:off x="-304062" y="50347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3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32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5" name="Gerader Verbinder 17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4"/>
          <p:cNvCxnSpPr/>
          <p:nvPr userDrawn="1"/>
        </p:nvCxnSpPr>
        <p:spPr>
          <a:xfrm>
            <a:off x="288925" y="4288929"/>
            <a:ext cx="27328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7"/>
          <p:cNvCxnSpPr/>
          <p:nvPr userDrawn="1"/>
        </p:nvCxnSpPr>
        <p:spPr>
          <a:xfrm>
            <a:off x="3201250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1"/>
          <p:cNvCxnSpPr/>
          <p:nvPr userDrawn="1"/>
        </p:nvCxnSpPr>
        <p:spPr>
          <a:xfrm>
            <a:off x="6125425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7358338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Gerader Verbinder 29"/>
          <p:cNvCxnSpPr/>
          <p:nvPr/>
        </p:nvCxnSpPr>
        <p:spPr>
          <a:xfrm>
            <a:off x="3483088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291600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291600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24929-C96C-4563-B23F-56BD00E51E1C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777263"/>
            <a:ext cx="2005200" cy="527912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spcBef>
                <a:spcPts val="0"/>
              </a:spcBef>
              <a:buFont typeface="Arial" panose="020B0604020202020204" pitchFamily="34" charset="0"/>
              <a:buNone/>
              <a:tabLst/>
              <a:defRPr lang="de-AT" sz="1200" cap="all" baseline="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cxnSp>
        <p:nvCxnSpPr>
          <p:cNvPr id="43" name="Gerader Verbinder 42"/>
          <p:cNvCxnSpPr/>
          <p:nvPr/>
        </p:nvCxnSpPr>
        <p:spPr>
          <a:xfrm>
            <a:off x="5669616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/>
        </p:nvCxnSpPr>
        <p:spPr>
          <a:xfrm>
            <a:off x="4583857" y="2295922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480885" y="2777263"/>
            <a:ext cx="2005200" cy="52791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4652585" y="2777263"/>
            <a:ext cx="2005200" cy="527912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6852382" y="2777263"/>
            <a:ext cx="2005200" cy="527912"/>
          </a:xfrm>
          <a:solidFill>
            <a:schemeClr val="accent3"/>
          </a:solidFill>
        </p:spPr>
        <p:txBody>
          <a:bodyPr wrap="square" lIns="72000" tIns="36000" rIns="72000" bIns="36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37"/>
          </p:nvPr>
        </p:nvSpPr>
        <p:spPr>
          <a:xfrm rot="16200000">
            <a:off x="-304062" y="3996475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38"/>
          </p:nvPr>
        </p:nvSpPr>
        <p:spPr>
          <a:xfrm rot="16200000">
            <a:off x="-257627" y="5512140"/>
            <a:ext cx="1174206" cy="132125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Diagrammplatzhalter 7"/>
          <p:cNvSpPr>
            <a:spLocks noGrp="1"/>
          </p:cNvSpPr>
          <p:nvPr>
            <p:ph type="chart" sz="quarter" idx="39"/>
          </p:nvPr>
        </p:nvSpPr>
        <p:spPr>
          <a:xfrm>
            <a:off x="24808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40"/>
          </p:nvPr>
        </p:nvSpPr>
        <p:spPr>
          <a:xfrm>
            <a:off x="24808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2" name="Diagrammplatzhalter 7"/>
          <p:cNvSpPr>
            <a:spLocks noGrp="1"/>
          </p:cNvSpPr>
          <p:nvPr>
            <p:ph type="chart" sz="quarter" idx="41"/>
          </p:nvPr>
        </p:nvSpPr>
        <p:spPr>
          <a:xfrm>
            <a:off x="46525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Diagrammplatzhalter 7"/>
          <p:cNvSpPr>
            <a:spLocks noGrp="1"/>
          </p:cNvSpPr>
          <p:nvPr>
            <p:ph type="chart" sz="quarter" idx="42"/>
          </p:nvPr>
        </p:nvSpPr>
        <p:spPr>
          <a:xfrm>
            <a:off x="46525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Diagrammplatzhalter 7"/>
          <p:cNvSpPr>
            <a:spLocks noGrp="1"/>
          </p:cNvSpPr>
          <p:nvPr>
            <p:ph type="chart" sz="quarter" idx="43"/>
          </p:nvPr>
        </p:nvSpPr>
        <p:spPr>
          <a:xfrm>
            <a:off x="6852382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6" name="Diagrammplatzhalter 7"/>
          <p:cNvSpPr>
            <a:spLocks noGrp="1"/>
          </p:cNvSpPr>
          <p:nvPr>
            <p:ph type="chart" sz="quarter" idx="44"/>
          </p:nvPr>
        </p:nvSpPr>
        <p:spPr>
          <a:xfrm>
            <a:off x="6852382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73" name="Freihandform 6"/>
          <p:cNvSpPr/>
          <p:nvPr/>
        </p:nvSpPr>
        <p:spPr>
          <a:xfrm>
            <a:off x="1291480" y="2560712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Freihandform 6"/>
          <p:cNvSpPr/>
          <p:nvPr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0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49" name="Freihandform 6"/>
          <p:cNvSpPr/>
          <p:nvPr userDrawn="1"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56" name="Gerader Verbinder 45"/>
          <p:cNvCxnSpPr/>
          <p:nvPr userDrawn="1"/>
        </p:nvCxnSpPr>
        <p:spPr>
          <a:xfrm>
            <a:off x="282732" y="4777937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3"/>
          <p:cNvCxnSpPr/>
          <p:nvPr userDrawn="1"/>
        </p:nvCxnSpPr>
        <p:spPr>
          <a:xfrm>
            <a:off x="2489199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/>
          <p:cNvCxnSpPr/>
          <p:nvPr userDrawn="1"/>
        </p:nvCxnSpPr>
        <p:spPr>
          <a:xfrm>
            <a:off x="4670424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61"/>
          <p:cNvCxnSpPr/>
          <p:nvPr userDrawn="1"/>
        </p:nvCxnSpPr>
        <p:spPr>
          <a:xfrm>
            <a:off x="6852382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3564398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tur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8DBF8-6C51-44BC-AE2F-71860FCD3DEA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07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291600" y="2544763"/>
            <a:ext cx="2005200" cy="153007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78869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1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668813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858756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395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5005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27493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46817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9305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68534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71022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2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24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079469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AEBBD-AC5E-4698-A169-10AEF6D8758F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9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15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69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61172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1208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1262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8180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201780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8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207180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201573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50" name="Textplatzhalt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6133699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5" name="Rechteck 2"/>
          <p:cNvSpPr/>
          <p:nvPr userDrawn="1"/>
        </p:nvSpPr>
        <p:spPr>
          <a:xfrm>
            <a:off x="2875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1" name="Rechteck 43"/>
          <p:cNvSpPr/>
          <p:nvPr userDrawn="1"/>
        </p:nvSpPr>
        <p:spPr>
          <a:xfrm>
            <a:off x="61168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2" name="Rechteck 48"/>
          <p:cNvSpPr/>
          <p:nvPr userDrawn="1"/>
        </p:nvSpPr>
        <p:spPr>
          <a:xfrm>
            <a:off x="3197755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67452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8616D-BF26-4D2D-A112-267FD684263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6790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976824"/>
            <a:ext cx="19980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390" y="4780012"/>
            <a:ext cx="1980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30"/>
          </p:nvPr>
        </p:nvSpPr>
        <p:spPr>
          <a:xfrm>
            <a:off x="6854953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867553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4665668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4678268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2467592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71192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0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480192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4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1" name="Textplatzhalt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2491211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2" name="Textplatzhalter 12"/>
          <p:cNvSpPr>
            <a:spLocks noGrp="1"/>
          </p:cNvSpPr>
          <p:nvPr>
            <p:ph type="body" sz="quarter" idx="43" hasCustomPrompt="1"/>
          </p:nvPr>
        </p:nvSpPr>
        <p:spPr>
          <a:xfrm>
            <a:off x="468274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3" name="Textplatzhalter 12"/>
          <p:cNvSpPr>
            <a:spLocks noGrp="1"/>
          </p:cNvSpPr>
          <p:nvPr>
            <p:ph type="body" sz="quarter" idx="44" hasCustomPrompt="1"/>
          </p:nvPr>
        </p:nvSpPr>
        <p:spPr>
          <a:xfrm>
            <a:off x="686672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5" name="Rechteck 2"/>
          <p:cNvSpPr/>
          <p:nvPr userDrawn="1"/>
        </p:nvSpPr>
        <p:spPr>
          <a:xfrm>
            <a:off x="286790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6" name="Rechteck 22"/>
          <p:cNvSpPr/>
          <p:nvPr userDrawn="1"/>
        </p:nvSpPr>
        <p:spPr>
          <a:xfrm>
            <a:off x="6854953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7" name="Rechteck 27"/>
          <p:cNvSpPr/>
          <p:nvPr userDrawn="1"/>
        </p:nvSpPr>
        <p:spPr>
          <a:xfrm>
            <a:off x="4665668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8" name="Rechteck 33"/>
          <p:cNvSpPr/>
          <p:nvPr userDrawn="1"/>
        </p:nvSpPr>
        <p:spPr>
          <a:xfrm>
            <a:off x="2467592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5840682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5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89366-5B56-499E-BA6A-1F79747195A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887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8887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67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7294567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7294567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7305367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7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7864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7864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7972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9"/>
          </p:nvPr>
        </p:nvSpPr>
        <p:spPr>
          <a:xfrm>
            <a:off x="20338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0338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7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0446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43"/>
          </p:nvPr>
        </p:nvSpPr>
        <p:spPr>
          <a:xfrm>
            <a:off x="553233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5532335" y="2093397"/>
            <a:ext cx="1569505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2" name="Diagrammplatzhalter 11"/>
          <p:cNvSpPr>
            <a:spLocks noGrp="1"/>
          </p:cNvSpPr>
          <p:nvPr>
            <p:ph type="chart" sz="quarter" idx="45"/>
          </p:nvPr>
        </p:nvSpPr>
        <p:spPr>
          <a:xfrm>
            <a:off x="554313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Rechteck 26"/>
          <p:cNvSpPr/>
          <p:nvPr/>
        </p:nvSpPr>
        <p:spPr>
          <a:xfrm>
            <a:off x="7294567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7864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0338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53233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2" name="Rechteck 2"/>
          <p:cNvSpPr/>
          <p:nvPr/>
        </p:nvSpPr>
        <p:spPr>
          <a:xfrm>
            <a:off x="28887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81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2" name="Textplatzhalter 12"/>
          <p:cNvSpPr>
            <a:spLocks noGrp="1"/>
          </p:cNvSpPr>
          <p:nvPr>
            <p:ph type="body" sz="quarter" idx="46" hasCustomPrompt="1"/>
          </p:nvPr>
        </p:nvSpPr>
        <p:spPr>
          <a:xfrm>
            <a:off x="2045347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3" name="Textplatzhalt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379857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4" name="Textplatzhalt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555180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5" name="Textplatzhalt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7312593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33286096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2 - text in 8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96AD8-12A9-485B-AC84-50DA55C41649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91600" y="3409749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2543475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91600" y="557543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91600" y="5142297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291600" y="4709160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/>
          </p:nvPr>
        </p:nvSpPr>
        <p:spPr>
          <a:xfrm>
            <a:off x="291600" y="427602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3842886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91600" y="2976612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2369503" y="3409749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2369503" y="2543475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2369503" y="557543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369503" y="5142297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25"/>
          </p:nvPr>
        </p:nvSpPr>
        <p:spPr>
          <a:xfrm>
            <a:off x="2369503" y="4709160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26"/>
          </p:nvPr>
        </p:nvSpPr>
        <p:spPr>
          <a:xfrm>
            <a:off x="2369503" y="427602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369503" y="3842886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369503" y="2976612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  <a:p>
            <a:pPr lvl="0"/>
            <a:endParaRPr lang="en-US" dirty="0"/>
          </a:p>
        </p:txBody>
      </p:sp>
      <p:pic>
        <p:nvPicPr>
          <p:cNvPr id="29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1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71135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38"/>
          </p:nvPr>
        </p:nvSpPr>
        <p:spPr>
          <a:xfrm>
            <a:off x="292789" y="4292600"/>
            <a:ext cx="2528887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0E165-890C-4C3B-B00C-845BA0E51C31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40" y="1626434"/>
            <a:ext cx="2860694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594309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911889" y="1626434"/>
            <a:ext cx="320029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027363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5876144" y="1626434"/>
            <a:ext cx="297942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2912596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585802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6"/>
          <p:cNvSpPr>
            <a:spLocks noGrp="1"/>
          </p:cNvSpPr>
          <p:nvPr>
            <p:ph type="body" sz="quarter" idx="39"/>
          </p:nvPr>
        </p:nvSpPr>
        <p:spPr>
          <a:xfrm>
            <a:off x="3027363" y="4292600"/>
            <a:ext cx="2529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40"/>
          </p:nvPr>
        </p:nvSpPr>
        <p:spPr>
          <a:xfrm>
            <a:off x="5943091" y="4292600"/>
            <a:ext cx="2530800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42045354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7047E-3A29-4B71-A144-C980ADA2BDF1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2148229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805122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4451746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212021" y="1626434"/>
            <a:ext cx="240909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2286554" y="2568087"/>
            <a:ext cx="198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4397667" y="1626434"/>
            <a:ext cx="241400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219395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588224" y="1626434"/>
            <a:ext cx="2264631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6617908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53" name="Gerade Verbindung 52"/>
          <p:cNvCxnSpPr/>
          <p:nvPr/>
        </p:nvCxnSpPr>
        <p:spPr>
          <a:xfrm>
            <a:off x="435915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/>
        </p:nvCxnSpPr>
        <p:spPr>
          <a:xfrm>
            <a:off x="65253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41"/>
          </p:nvPr>
        </p:nvSpPr>
        <p:spPr>
          <a:xfrm>
            <a:off x="292789" y="4292600"/>
            <a:ext cx="1798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42"/>
          </p:nvPr>
        </p:nvSpPr>
        <p:spPr>
          <a:xfrm>
            <a:off x="2284054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43"/>
          </p:nvPr>
        </p:nvSpPr>
        <p:spPr>
          <a:xfrm>
            <a:off x="4454316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6624577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6973891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292789" y="4292600"/>
            <a:ext cx="145346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E2BAD-230E-4195-9428-DBCC11E6CF4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1708615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347975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7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3612039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1763758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1854127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511662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8" name="Gerade Verbindung 47"/>
          <p:cNvCxnSpPr/>
          <p:nvPr userDrawn="1"/>
        </p:nvCxnSpPr>
        <p:spPr>
          <a:xfrm>
            <a:off x="1747792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5259566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5369951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64" name="Gerade Verbindung 63"/>
          <p:cNvCxnSpPr/>
          <p:nvPr/>
        </p:nvCxnSpPr>
        <p:spPr>
          <a:xfrm>
            <a:off x="350609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 userDrawn="1"/>
        </p:nvCxnSpPr>
        <p:spPr>
          <a:xfrm>
            <a:off x="70227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12"/>
          <p:cNvSpPr>
            <a:spLocks noGrp="1"/>
          </p:cNvSpPr>
          <p:nvPr>
            <p:ph type="body" sz="quarter" idx="41"/>
          </p:nvPr>
        </p:nvSpPr>
        <p:spPr>
          <a:xfrm>
            <a:off x="7007469" y="1626434"/>
            <a:ext cx="184210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7" name="Gerade Verbindung 66"/>
          <p:cNvCxnSpPr/>
          <p:nvPr/>
        </p:nvCxnSpPr>
        <p:spPr>
          <a:xfrm>
            <a:off x="5264404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7127862" y="2568087"/>
            <a:ext cx="144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45"/>
          </p:nvPr>
        </p:nvSpPr>
        <p:spPr>
          <a:xfrm>
            <a:off x="1854171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46"/>
          </p:nvPr>
        </p:nvSpPr>
        <p:spPr>
          <a:xfrm>
            <a:off x="3605334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6"/>
          <p:cNvSpPr>
            <a:spLocks noGrp="1"/>
          </p:cNvSpPr>
          <p:nvPr>
            <p:ph type="body" sz="quarter" idx="47"/>
          </p:nvPr>
        </p:nvSpPr>
        <p:spPr>
          <a:xfrm>
            <a:off x="5365122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48"/>
          </p:nvPr>
        </p:nvSpPr>
        <p:spPr>
          <a:xfrm>
            <a:off x="7133537" y="4292600"/>
            <a:ext cx="1542919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969399489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DDFF4-A2AB-4764-A3CE-715580F2787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9231510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181202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gridlines - pls don'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Raster </a:t>
            </a:r>
            <a:r>
              <a:rPr lang="en-US" dirty="0" err="1"/>
              <a:t>nur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neuerlichen</a:t>
            </a:r>
            <a:r>
              <a:rPr lang="en-US" dirty="0"/>
              <a:t> </a:t>
            </a:r>
            <a:r>
              <a:rPr lang="en-US" dirty="0" err="1"/>
              <a:t>Ausrichtung</a:t>
            </a:r>
            <a:r>
              <a:rPr lang="en-US" dirty="0"/>
              <a:t> der </a:t>
            </a:r>
            <a:r>
              <a:rPr lang="en-US" dirty="0" err="1"/>
              <a:t>Hilfslinie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verwenden</a:t>
            </a:r>
            <a:r>
              <a:rPr lang="en-US" dirty="0"/>
              <a:t>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28B82-505B-44E6-AD30-0FE5D7FE48C8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Mittelkreuz"/>
          <p:cNvGrpSpPr/>
          <p:nvPr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37" name="Mittellinie vertikal"/>
            <p:cNvCxnSpPr/>
            <p:nvPr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9" name="Mittellinie horizontal"/>
            <p:cNvCxnSpPr/>
            <p:nvPr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99" name="Rechteckige Legende 16"/>
            <p:cNvSpPr/>
            <p:nvPr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 err="1">
                  <a:solidFill>
                    <a:prstClr val="black"/>
                  </a:solidFill>
                </a:rPr>
                <a:t>Abstand</a:t>
              </a:r>
              <a:r>
                <a:rPr lang="en-US" sz="1050" dirty="0">
                  <a:solidFill>
                    <a:prstClr val="black"/>
                  </a:solidFill>
                </a:rPr>
                <a:t> der </a:t>
              </a:r>
              <a:r>
                <a:rPr lang="en-US" sz="1050" dirty="0" err="1">
                  <a:solidFill>
                    <a:prstClr val="black"/>
                  </a:solidFill>
                </a:rPr>
                <a:t>Hilfslinien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vom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Mittelpunkt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weg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gemessen</a:t>
              </a:r>
              <a:endParaRPr lang="en-US" sz="105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93" name="Links horizontal"/>
          <p:cNvGrpSpPr/>
          <p:nvPr userDrawn="1"/>
        </p:nvGrpSpPr>
        <p:grpSpPr>
          <a:xfrm>
            <a:off x="284950" y="1862906"/>
            <a:ext cx="4372144" cy="1153658"/>
            <a:chOff x="284950" y="1862906"/>
            <a:chExt cx="4372144" cy="1153658"/>
          </a:xfrm>
        </p:grpSpPr>
        <p:cxnSp>
          <p:nvCxnSpPr>
            <p:cNvPr id="94" name="Gerade Verbindung mit Pfeil 6"/>
            <p:cNvCxnSpPr/>
            <p:nvPr/>
          </p:nvCxnSpPr>
          <p:spPr>
            <a:xfrm flipH="1">
              <a:off x="4483100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5" name="Textfeld 15"/>
            <p:cNvSpPr txBox="1"/>
            <p:nvPr userDrawn="1"/>
          </p:nvSpPr>
          <p:spPr>
            <a:xfrm>
              <a:off x="4270450" y="2801120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25</a:t>
              </a:r>
            </a:p>
          </p:txBody>
        </p:sp>
        <p:cxnSp>
          <p:nvCxnSpPr>
            <p:cNvPr id="96" name="Gerade Verbindung mit Pfeil 35"/>
            <p:cNvCxnSpPr/>
            <p:nvPr userDrawn="1"/>
          </p:nvCxnSpPr>
          <p:spPr>
            <a:xfrm flipH="1">
              <a:off x="3205163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7" name="Textfeld 90"/>
            <p:cNvSpPr txBox="1"/>
            <p:nvPr userDrawn="1"/>
          </p:nvSpPr>
          <p:spPr>
            <a:xfrm flipH="1">
              <a:off x="3377476" y="2610619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8</a:t>
              </a:r>
            </a:p>
          </p:txBody>
        </p:sp>
        <p:cxnSp>
          <p:nvCxnSpPr>
            <p:cNvPr id="98" name="Gerade Verbindung mit Pfeil 37"/>
            <p:cNvCxnSpPr/>
            <p:nvPr userDrawn="1"/>
          </p:nvCxnSpPr>
          <p:spPr>
            <a:xfrm flipH="1">
              <a:off x="302260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9" name="Textfeld 77"/>
            <p:cNvSpPr txBox="1"/>
            <p:nvPr userDrawn="1"/>
          </p:nvSpPr>
          <p:spPr>
            <a:xfrm>
              <a:off x="3213008" y="2467744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4,3</a:t>
              </a:r>
            </a:p>
          </p:txBody>
        </p:sp>
        <p:cxnSp>
          <p:nvCxnSpPr>
            <p:cNvPr id="100" name="Gerade Verbindung mit Pfeil 66"/>
            <p:cNvCxnSpPr/>
            <p:nvPr userDrawn="1"/>
          </p:nvCxnSpPr>
          <p:spPr>
            <a:xfrm flipH="1">
              <a:off x="174625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1" name="Textfeld 76"/>
            <p:cNvSpPr txBox="1"/>
            <p:nvPr userDrawn="1"/>
          </p:nvSpPr>
          <p:spPr>
            <a:xfrm>
              <a:off x="1965875" y="2120081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85</a:t>
              </a:r>
            </a:p>
          </p:txBody>
        </p:sp>
        <p:cxnSp>
          <p:nvCxnSpPr>
            <p:cNvPr id="102" name="Gerade Verbindung mit Pfeil 67"/>
            <p:cNvCxnSpPr/>
            <p:nvPr userDrawn="1"/>
          </p:nvCxnSpPr>
          <p:spPr>
            <a:xfrm flipH="1">
              <a:off x="1567181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3" name="Textfeld 75"/>
            <p:cNvSpPr txBox="1"/>
            <p:nvPr userDrawn="1"/>
          </p:nvSpPr>
          <p:spPr>
            <a:xfrm>
              <a:off x="1711781" y="1991494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8,35</a:t>
              </a:r>
            </a:p>
          </p:txBody>
        </p:sp>
        <p:cxnSp>
          <p:nvCxnSpPr>
            <p:cNvPr id="104" name="Gerade Verbindung mit Pfeil 68"/>
            <p:cNvCxnSpPr/>
            <p:nvPr userDrawn="1"/>
          </p:nvCxnSpPr>
          <p:spPr>
            <a:xfrm flipH="1">
              <a:off x="28495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17" name="Textfeld 74"/>
            <p:cNvSpPr txBox="1"/>
            <p:nvPr userDrawn="1"/>
          </p:nvSpPr>
          <p:spPr>
            <a:xfrm>
              <a:off x="468488" y="1862906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1,9</a:t>
              </a:r>
            </a:p>
          </p:txBody>
        </p:sp>
      </p:grpSp>
      <p:grpSp>
        <p:nvGrpSpPr>
          <p:cNvPr id="118" name="Rechts horizontal"/>
          <p:cNvGrpSpPr/>
          <p:nvPr userDrawn="1"/>
        </p:nvGrpSpPr>
        <p:grpSpPr>
          <a:xfrm>
            <a:off x="4570080" y="1862906"/>
            <a:ext cx="4285466" cy="1153658"/>
            <a:chOff x="4570080" y="1862906"/>
            <a:chExt cx="4285466" cy="1153658"/>
          </a:xfrm>
        </p:grpSpPr>
        <p:cxnSp>
          <p:nvCxnSpPr>
            <p:cNvPr id="119" name="Gerade Verbindung mit Pfeil 84"/>
            <p:cNvCxnSpPr/>
            <p:nvPr userDrawn="1"/>
          </p:nvCxnSpPr>
          <p:spPr>
            <a:xfrm>
              <a:off x="457008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0" name="Textfeld 86"/>
            <p:cNvSpPr txBox="1"/>
            <p:nvPr userDrawn="1"/>
          </p:nvSpPr>
          <p:spPr>
            <a:xfrm flipH="1">
              <a:off x="8220426" y="1862906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11,9</a:t>
              </a:r>
            </a:p>
          </p:txBody>
        </p:sp>
        <p:cxnSp>
          <p:nvCxnSpPr>
            <p:cNvPr id="121" name="Gerade Verbindung mit Pfeil 83"/>
            <p:cNvCxnSpPr/>
            <p:nvPr userDrawn="1"/>
          </p:nvCxnSpPr>
          <p:spPr>
            <a:xfrm>
              <a:off x="4570080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2" name="Textfeld 87"/>
            <p:cNvSpPr txBox="1"/>
            <p:nvPr userDrawn="1"/>
          </p:nvSpPr>
          <p:spPr>
            <a:xfrm flipH="1">
              <a:off x="7006560" y="1991494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8,35</a:t>
              </a:r>
            </a:p>
          </p:txBody>
        </p:sp>
        <p:cxnSp>
          <p:nvCxnSpPr>
            <p:cNvPr id="123" name="Gerade Verbindung mit Pfeil 82"/>
            <p:cNvCxnSpPr/>
            <p:nvPr userDrawn="1"/>
          </p:nvCxnSpPr>
          <p:spPr>
            <a:xfrm>
              <a:off x="457008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7" name="Textfeld 88"/>
            <p:cNvSpPr txBox="1"/>
            <p:nvPr userDrawn="1"/>
          </p:nvSpPr>
          <p:spPr>
            <a:xfrm flipH="1">
              <a:off x="6726441" y="2120081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7,85</a:t>
              </a:r>
            </a:p>
          </p:txBody>
        </p:sp>
        <p:cxnSp>
          <p:nvCxnSpPr>
            <p:cNvPr id="130" name="Gerade Verbindung mit Pfeil 81"/>
            <p:cNvCxnSpPr/>
            <p:nvPr userDrawn="1"/>
          </p:nvCxnSpPr>
          <p:spPr>
            <a:xfrm>
              <a:off x="457008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1" name="Textfeld 89"/>
            <p:cNvSpPr txBox="1"/>
            <p:nvPr userDrawn="1"/>
          </p:nvSpPr>
          <p:spPr>
            <a:xfrm flipH="1">
              <a:off x="5550235" y="2467744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4,3</a:t>
              </a:r>
            </a:p>
          </p:txBody>
        </p:sp>
        <p:cxnSp>
          <p:nvCxnSpPr>
            <p:cNvPr id="166" name="Gerade Verbindung mit Pfeil 80"/>
            <p:cNvCxnSpPr/>
            <p:nvPr userDrawn="1"/>
          </p:nvCxnSpPr>
          <p:spPr>
            <a:xfrm>
              <a:off x="4570080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4" name="Textfeld 90"/>
            <p:cNvSpPr txBox="1"/>
            <p:nvPr userDrawn="1"/>
          </p:nvSpPr>
          <p:spPr>
            <a:xfrm flipH="1">
              <a:off x="5336325" y="2610619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3,8</a:t>
              </a:r>
            </a:p>
          </p:txBody>
        </p:sp>
        <p:cxnSp>
          <p:nvCxnSpPr>
            <p:cNvPr id="186" name="Gerade Verbindung mit Pfeil 79"/>
            <p:cNvCxnSpPr/>
            <p:nvPr userDrawn="1"/>
          </p:nvCxnSpPr>
          <p:spPr>
            <a:xfrm>
              <a:off x="4581832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7" name="Textfeld 85"/>
            <p:cNvSpPr txBox="1"/>
            <p:nvPr userDrawn="1"/>
          </p:nvSpPr>
          <p:spPr>
            <a:xfrm flipH="1">
              <a:off x="4570080" y="2801120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0,25</a:t>
              </a:r>
            </a:p>
          </p:txBody>
        </p:sp>
      </p:grpSp>
      <p:grpSp>
        <p:nvGrpSpPr>
          <p:cNvPr id="201" name="Unten vertikal"/>
          <p:cNvGrpSpPr/>
          <p:nvPr userDrawn="1"/>
        </p:nvGrpSpPr>
        <p:grpSpPr>
          <a:xfrm>
            <a:off x="1928739" y="3429000"/>
            <a:ext cx="979652" cy="2706853"/>
            <a:chOff x="1928739" y="3429000"/>
            <a:chExt cx="979652" cy="2706853"/>
          </a:xfrm>
        </p:grpSpPr>
        <p:cxnSp>
          <p:nvCxnSpPr>
            <p:cNvPr id="202" name="Gerade Verbindung mit Pfeil 102"/>
            <p:cNvCxnSpPr/>
            <p:nvPr userDrawn="1"/>
          </p:nvCxnSpPr>
          <p:spPr>
            <a:xfrm>
              <a:off x="2875434" y="3429000"/>
              <a:ext cx="0" cy="270685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3" name="Textfeld 116"/>
            <p:cNvSpPr txBox="1"/>
            <p:nvPr userDrawn="1"/>
          </p:nvSpPr>
          <p:spPr>
            <a:xfrm>
              <a:off x="1928739" y="3466610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12</a:t>
              </a:r>
            </a:p>
          </p:txBody>
        </p:sp>
        <p:cxnSp>
          <p:nvCxnSpPr>
            <p:cNvPr id="204" name="Gerade Verbindung mit Pfeil 96"/>
            <p:cNvCxnSpPr/>
            <p:nvPr userDrawn="1"/>
          </p:nvCxnSpPr>
          <p:spPr>
            <a:xfrm>
              <a:off x="2011185" y="3429000"/>
              <a:ext cx="0" cy="40291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5" name="Textfeld 117"/>
            <p:cNvSpPr txBox="1"/>
            <p:nvPr userDrawn="1"/>
          </p:nvSpPr>
          <p:spPr>
            <a:xfrm>
              <a:off x="2096786" y="363437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37</a:t>
              </a:r>
            </a:p>
          </p:txBody>
        </p:sp>
        <p:cxnSp>
          <p:nvCxnSpPr>
            <p:cNvPr id="206" name="Gerade Verbindung mit Pfeil 97"/>
            <p:cNvCxnSpPr/>
            <p:nvPr userDrawn="1"/>
          </p:nvCxnSpPr>
          <p:spPr>
            <a:xfrm>
              <a:off x="2165335" y="3429000"/>
              <a:ext cx="0" cy="4937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7" name="Textfeld 118"/>
            <p:cNvSpPr txBox="1"/>
            <p:nvPr/>
          </p:nvSpPr>
          <p:spPr>
            <a:xfrm>
              <a:off x="2115836" y="43265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25</a:t>
              </a:r>
            </a:p>
          </p:txBody>
        </p:sp>
        <p:cxnSp>
          <p:nvCxnSpPr>
            <p:cNvPr id="208" name="Gerade Verbindung mit Pfeil 98"/>
            <p:cNvCxnSpPr/>
            <p:nvPr userDrawn="1"/>
          </p:nvCxnSpPr>
          <p:spPr>
            <a:xfrm>
              <a:off x="2319485" y="3429000"/>
              <a:ext cx="0" cy="117395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9" name="Textfeld 119"/>
            <p:cNvSpPr txBox="1"/>
            <p:nvPr userDrawn="1"/>
          </p:nvSpPr>
          <p:spPr>
            <a:xfrm>
              <a:off x="2395236" y="44408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5</a:t>
              </a:r>
            </a:p>
          </p:txBody>
        </p:sp>
        <p:cxnSp>
          <p:nvCxnSpPr>
            <p:cNvPr id="210" name="Gerade Verbindung mit Pfeil 99"/>
            <p:cNvCxnSpPr/>
            <p:nvPr userDrawn="1"/>
          </p:nvCxnSpPr>
          <p:spPr>
            <a:xfrm>
              <a:off x="2473635" y="3429000"/>
              <a:ext cx="0" cy="126206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1" name="Textfeld 120"/>
            <p:cNvSpPr txBox="1"/>
            <p:nvPr userDrawn="1"/>
          </p:nvSpPr>
          <p:spPr>
            <a:xfrm>
              <a:off x="2420255" y="504170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38</a:t>
              </a:r>
            </a:p>
          </p:txBody>
        </p:sp>
        <p:cxnSp>
          <p:nvCxnSpPr>
            <p:cNvPr id="212" name="Gerade Verbindung mit Pfeil 100"/>
            <p:cNvCxnSpPr/>
            <p:nvPr userDrawn="1"/>
          </p:nvCxnSpPr>
          <p:spPr>
            <a:xfrm>
              <a:off x="2627784" y="3429000"/>
              <a:ext cx="0" cy="19415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3" name="Textfeld 121"/>
            <p:cNvSpPr txBox="1"/>
            <p:nvPr userDrawn="1"/>
          </p:nvSpPr>
          <p:spPr>
            <a:xfrm>
              <a:off x="2686955" y="520176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63</a:t>
              </a:r>
            </a:p>
          </p:txBody>
        </p:sp>
        <p:cxnSp>
          <p:nvCxnSpPr>
            <p:cNvPr id="214" name="Gerade Verbindung mit Pfeil 101"/>
            <p:cNvCxnSpPr/>
            <p:nvPr userDrawn="1"/>
          </p:nvCxnSpPr>
          <p:spPr>
            <a:xfrm>
              <a:off x="2756371" y="3429000"/>
              <a:ext cx="0" cy="203200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5" name="Textfeld 122"/>
            <p:cNvSpPr txBox="1"/>
            <p:nvPr userDrawn="1"/>
          </p:nvSpPr>
          <p:spPr>
            <a:xfrm>
              <a:off x="2655205" y="590661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51</a:t>
              </a:r>
            </a:p>
          </p:txBody>
        </p:sp>
      </p:grpSp>
      <p:grpSp>
        <p:nvGrpSpPr>
          <p:cNvPr id="216" name="Oben vertikal"/>
          <p:cNvGrpSpPr/>
          <p:nvPr userDrawn="1"/>
        </p:nvGrpSpPr>
        <p:grpSpPr>
          <a:xfrm>
            <a:off x="417195" y="1622737"/>
            <a:ext cx="883952" cy="1806266"/>
            <a:chOff x="417195" y="1622737"/>
            <a:chExt cx="883952" cy="1806266"/>
          </a:xfrm>
        </p:grpSpPr>
        <p:cxnSp>
          <p:nvCxnSpPr>
            <p:cNvPr id="217" name="Gerade Verbindung mit Pfeil 22"/>
            <p:cNvCxnSpPr/>
            <p:nvPr/>
          </p:nvCxnSpPr>
          <p:spPr>
            <a:xfrm flipV="1">
              <a:off x="656527" y="3157525"/>
              <a:ext cx="0" cy="27147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8" name="Textfeld 78"/>
            <p:cNvSpPr txBox="1"/>
            <p:nvPr userDrawn="1"/>
          </p:nvSpPr>
          <p:spPr>
            <a:xfrm>
              <a:off x="417195" y="3276985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76</a:t>
              </a:r>
            </a:p>
          </p:txBody>
        </p:sp>
        <p:cxnSp>
          <p:nvCxnSpPr>
            <p:cNvPr id="219" name="Gerade Verbindung mit Pfeil 92"/>
            <p:cNvCxnSpPr/>
            <p:nvPr userDrawn="1"/>
          </p:nvCxnSpPr>
          <p:spPr>
            <a:xfrm flipV="1">
              <a:off x="810677" y="3066100"/>
              <a:ext cx="0" cy="362901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0" name="Textfeld 103"/>
            <p:cNvSpPr txBox="1"/>
            <p:nvPr userDrawn="1"/>
          </p:nvSpPr>
          <p:spPr>
            <a:xfrm>
              <a:off x="738031" y="3175385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01</a:t>
              </a:r>
            </a:p>
          </p:txBody>
        </p:sp>
        <p:cxnSp>
          <p:nvCxnSpPr>
            <p:cNvPr id="221" name="Gerade Verbindung mit Pfeil 93"/>
            <p:cNvCxnSpPr/>
            <p:nvPr userDrawn="1"/>
          </p:nvCxnSpPr>
          <p:spPr>
            <a:xfrm flipV="1">
              <a:off x="964827" y="2388396"/>
              <a:ext cx="0" cy="104060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2" name="Textfeld 112"/>
            <p:cNvSpPr txBox="1"/>
            <p:nvPr userDrawn="1"/>
          </p:nvSpPr>
          <p:spPr>
            <a:xfrm>
              <a:off x="738859" y="25991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2,89</a:t>
              </a:r>
            </a:p>
          </p:txBody>
        </p:sp>
        <p:cxnSp>
          <p:nvCxnSpPr>
            <p:cNvPr id="223" name="Gerade Verbindung mit Pfeil 94"/>
            <p:cNvCxnSpPr/>
            <p:nvPr userDrawn="1"/>
          </p:nvCxnSpPr>
          <p:spPr>
            <a:xfrm flipV="1">
              <a:off x="1118977" y="2295525"/>
              <a:ext cx="0" cy="1133477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4" name="Textfeld 113"/>
            <p:cNvSpPr txBox="1"/>
            <p:nvPr userDrawn="1"/>
          </p:nvSpPr>
          <p:spPr>
            <a:xfrm>
              <a:off x="1048124" y="24340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14</a:t>
              </a:r>
            </a:p>
          </p:txBody>
        </p:sp>
        <p:cxnSp>
          <p:nvCxnSpPr>
            <p:cNvPr id="225" name="Gerade Verbindung mit Pfeil 95"/>
            <p:cNvCxnSpPr/>
            <p:nvPr userDrawn="1"/>
          </p:nvCxnSpPr>
          <p:spPr>
            <a:xfrm flipV="1">
              <a:off x="1273126" y="1622737"/>
              <a:ext cx="0" cy="180626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6" name="Textfeld 115"/>
            <p:cNvSpPr txBox="1"/>
            <p:nvPr/>
          </p:nvSpPr>
          <p:spPr>
            <a:xfrm>
              <a:off x="1018866" y="1665683"/>
              <a:ext cx="28228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02</a:t>
              </a:r>
            </a:p>
          </p:txBody>
        </p:sp>
      </p:grpSp>
      <p:grpSp>
        <p:nvGrpSpPr>
          <p:cNvPr id="227" name="Rasterlinien"/>
          <p:cNvGrpSpPr/>
          <p:nvPr userDrawn="1"/>
        </p:nvGrpSpPr>
        <p:grpSpPr>
          <a:xfrm>
            <a:off x="0" y="0"/>
            <a:ext cx="9149070" cy="6852284"/>
            <a:chOff x="0" y="0"/>
            <a:chExt cx="9149070" cy="6852284"/>
          </a:xfrm>
        </p:grpSpPr>
        <p:cxnSp>
          <p:nvCxnSpPr>
            <p:cNvPr id="228" name="Gerader Verbinder 40"/>
            <p:cNvCxnSpPr/>
            <p:nvPr userDrawn="1"/>
          </p:nvCxnSpPr>
          <p:spPr>
            <a:xfrm>
              <a:off x="174434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9" name="Gerader Verbinder 41"/>
            <p:cNvCxnSpPr/>
            <p:nvPr userDrawn="1"/>
          </p:nvCxnSpPr>
          <p:spPr>
            <a:xfrm>
              <a:off x="302133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0" name="Gerader Verbinder 42"/>
            <p:cNvCxnSpPr/>
            <p:nvPr userDrawn="1"/>
          </p:nvCxnSpPr>
          <p:spPr>
            <a:xfrm>
              <a:off x="3202464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1" name="Gerader Verbinder 43"/>
            <p:cNvCxnSpPr/>
            <p:nvPr userDrawn="1"/>
          </p:nvCxnSpPr>
          <p:spPr>
            <a:xfrm>
              <a:off x="448071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2" name="Gerader Verbinder 44"/>
            <p:cNvCxnSpPr/>
            <p:nvPr userDrawn="1"/>
          </p:nvCxnSpPr>
          <p:spPr>
            <a:xfrm>
              <a:off x="465947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3" name="Gerader Verbinder 45"/>
            <p:cNvCxnSpPr/>
            <p:nvPr userDrawn="1"/>
          </p:nvCxnSpPr>
          <p:spPr>
            <a:xfrm>
              <a:off x="59390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4" name="Gerader Verbinder 46"/>
            <p:cNvCxnSpPr/>
            <p:nvPr userDrawn="1"/>
          </p:nvCxnSpPr>
          <p:spPr>
            <a:xfrm>
              <a:off x="6120130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5" name="Gerader Verbinder 47"/>
            <p:cNvCxnSpPr/>
            <p:nvPr userDrawn="1"/>
          </p:nvCxnSpPr>
          <p:spPr>
            <a:xfrm>
              <a:off x="73977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6" name="Gerader Verbinder 48"/>
            <p:cNvCxnSpPr/>
            <p:nvPr userDrawn="1"/>
          </p:nvCxnSpPr>
          <p:spPr>
            <a:xfrm>
              <a:off x="7576502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7" name="Gerader Verbinder 49"/>
            <p:cNvCxnSpPr/>
            <p:nvPr userDrawn="1"/>
          </p:nvCxnSpPr>
          <p:spPr>
            <a:xfrm>
              <a:off x="1564006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8" name="Gerader Verbinder 50"/>
            <p:cNvCxnSpPr/>
            <p:nvPr userDrawn="1"/>
          </p:nvCxnSpPr>
          <p:spPr>
            <a:xfrm>
              <a:off x="286703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9" name="Gerader Verbinder 51"/>
            <p:cNvCxnSpPr/>
            <p:nvPr userDrawn="1"/>
          </p:nvCxnSpPr>
          <p:spPr>
            <a:xfrm>
              <a:off x="885635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0" name="Gerader Verbinder 52"/>
            <p:cNvCxnSpPr/>
            <p:nvPr userDrawn="1"/>
          </p:nvCxnSpPr>
          <p:spPr>
            <a:xfrm>
              <a:off x="0" y="1034415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1" name="Gerader Verbinder 53"/>
            <p:cNvCxnSpPr/>
            <p:nvPr userDrawn="1"/>
          </p:nvCxnSpPr>
          <p:spPr>
            <a:xfrm>
              <a:off x="0" y="162083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2" name="Gerader Verbinder 54"/>
            <p:cNvCxnSpPr/>
            <p:nvPr userDrawn="1"/>
          </p:nvCxnSpPr>
          <p:spPr>
            <a:xfrm>
              <a:off x="0" y="22955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3" name="Gerader Verbinder 55"/>
            <p:cNvCxnSpPr/>
            <p:nvPr userDrawn="1"/>
          </p:nvCxnSpPr>
          <p:spPr>
            <a:xfrm>
              <a:off x="0" y="238649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4" name="Gerader Verbinder 56"/>
            <p:cNvCxnSpPr/>
            <p:nvPr userDrawn="1"/>
          </p:nvCxnSpPr>
          <p:spPr>
            <a:xfrm>
              <a:off x="0" y="306467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5" name="Gerader Verbinder 57"/>
            <p:cNvCxnSpPr/>
            <p:nvPr userDrawn="1"/>
          </p:nvCxnSpPr>
          <p:spPr>
            <a:xfrm>
              <a:off x="5070" y="315514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6" name="Gerader Verbinder 58"/>
            <p:cNvCxnSpPr/>
            <p:nvPr userDrawn="1"/>
          </p:nvCxnSpPr>
          <p:spPr>
            <a:xfrm>
              <a:off x="0" y="3831910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7" name="Gerader Verbinder 59"/>
            <p:cNvCxnSpPr/>
            <p:nvPr userDrawn="1"/>
          </p:nvCxnSpPr>
          <p:spPr>
            <a:xfrm>
              <a:off x="0" y="392032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8" name="Gerader Verbinder 60"/>
            <p:cNvCxnSpPr/>
            <p:nvPr userDrawn="1"/>
          </p:nvCxnSpPr>
          <p:spPr>
            <a:xfrm>
              <a:off x="0" y="459978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9" name="Gerader Verbinder 61"/>
            <p:cNvCxnSpPr/>
            <p:nvPr userDrawn="1"/>
          </p:nvCxnSpPr>
          <p:spPr>
            <a:xfrm>
              <a:off x="0" y="468773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0" name="Gerader Verbinder 62"/>
            <p:cNvCxnSpPr/>
            <p:nvPr userDrawn="1"/>
          </p:nvCxnSpPr>
          <p:spPr>
            <a:xfrm>
              <a:off x="0" y="53662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1" name="Gerader Verbinder 63"/>
            <p:cNvCxnSpPr/>
            <p:nvPr userDrawn="1"/>
          </p:nvCxnSpPr>
          <p:spPr>
            <a:xfrm>
              <a:off x="0" y="545544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2" name="Gerader Verbinder 64"/>
            <p:cNvCxnSpPr/>
            <p:nvPr userDrawn="1"/>
          </p:nvCxnSpPr>
          <p:spPr>
            <a:xfrm>
              <a:off x="0" y="613267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3" name="Gerader Verbinder 65"/>
            <p:cNvCxnSpPr/>
            <p:nvPr userDrawn="1"/>
          </p:nvCxnSpPr>
          <p:spPr>
            <a:xfrm>
              <a:off x="0" y="33623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54" name="Abstandsbox"/>
          <p:cNvGrpSpPr/>
          <p:nvPr userDrawn="1"/>
        </p:nvGrpSpPr>
        <p:grpSpPr>
          <a:xfrm>
            <a:off x="6967053" y="3831910"/>
            <a:ext cx="1902050" cy="742919"/>
            <a:chOff x="6967053" y="3831910"/>
            <a:chExt cx="1902050" cy="742919"/>
          </a:xfrm>
        </p:grpSpPr>
        <p:sp>
          <p:nvSpPr>
            <p:cNvPr id="255" name="Rechteckige Legende 124"/>
            <p:cNvSpPr/>
            <p:nvPr userDrawn="1"/>
          </p:nvSpPr>
          <p:spPr>
            <a:xfrm>
              <a:off x="6967053" y="4132501"/>
              <a:ext cx="1902050" cy="442328"/>
            </a:xfrm>
            <a:prstGeom prst="wedgeRoundRectCallout">
              <a:avLst>
                <a:gd name="adj1" fmla="val -23390"/>
                <a:gd name="adj2" fmla="val -87045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Horizontal distance: 0,5 cm</a:t>
              </a:r>
            </a:p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Vertical distance: 0,25 cm</a:t>
              </a:r>
            </a:p>
          </p:txBody>
        </p:sp>
        <p:sp>
          <p:nvSpPr>
            <p:cNvPr id="256" name="Rechteck 123"/>
            <p:cNvSpPr/>
            <p:nvPr userDrawn="1"/>
          </p:nvSpPr>
          <p:spPr>
            <a:xfrm>
              <a:off x="7399338" y="3831910"/>
              <a:ext cx="180000" cy="9032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cap="all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7" name="Mittelkreuz"/>
          <p:cNvGrpSpPr/>
          <p:nvPr userDrawn="1"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258" name="Mittellinie vertikal"/>
            <p:cNvCxnSpPr/>
            <p:nvPr userDrawn="1"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59" name="Mittellinie horizontal"/>
            <p:cNvCxnSpPr/>
            <p:nvPr userDrawn="1"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60" name="Rechteckige Legende 16"/>
            <p:cNvSpPr/>
            <p:nvPr userDrawn="1"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Distance of gridlines measured from cen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89979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hr-HR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B1B5B15-BEE4-4C87-8635-9334D6069033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004186"/>
      </p:ext>
    </p:extLst>
  </p:cSld>
  <p:clrMapOvr>
    <a:masterClrMapping/>
  </p:clrMapOvr>
  <p:hf hdr="0" ftr="0"/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142875"/>
            <a:ext cx="931863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00125"/>
            <a:ext cx="9144000" cy="107950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1143000" y="142875"/>
            <a:ext cx="77152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GB" altLang="sr-Latn-RS" sz="1400" b="1"/>
              <a:t>HRVATSKA KOMORA INŽENJERA GRAĐEVINARSTVA</a:t>
            </a:r>
            <a:endParaRPr lang="hr-HR" altLang="sr-Latn-RS" sz="1400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143000" y="457200"/>
            <a:ext cx="7715250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Aft>
                <a:spcPts val="600"/>
              </a:spcAft>
              <a:defRPr/>
            </a:pPr>
            <a:r>
              <a:rPr lang="hr-HR" altLang="sr-Latn-RS" sz="1200" b="1">
                <a:solidFill>
                  <a:srgbClr val="7F7F7F"/>
                </a:solidFill>
                <a:cs typeface="Times New Roman" pitchFamily="18" charset="0"/>
              </a:rPr>
              <a:t>DANI OVLAŠTENIH INŽENJERA GRAĐEVINARSTVA</a:t>
            </a:r>
            <a:endParaRPr lang="hr-HR" altLang="sr-Latn-RS" sz="1200">
              <a:solidFill>
                <a:srgbClr val="7F7F7F"/>
              </a:solidFill>
            </a:endParaRPr>
          </a:p>
          <a:p>
            <a:pPr algn="ctr">
              <a:spcAft>
                <a:spcPts val="600"/>
              </a:spcAft>
              <a:defRPr/>
            </a:pPr>
            <a:r>
              <a:rPr lang="hr-HR" altLang="sr-Latn-RS" sz="1200">
                <a:cs typeface="Times New Roman" pitchFamily="18" charset="0"/>
              </a:rPr>
              <a:t>Opatija, 2010.</a:t>
            </a:r>
            <a:endParaRPr lang="hr-HR" altLang="sr-Latn-R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cs typeface="+mn-cs"/>
              </a:defRPr>
            </a:lvl1pPr>
          </a:lstStyle>
          <a:p>
            <a:fld id="{0B1B5B15-BEE4-4C87-8635-9334D6069033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 algn="l">
              <a:defRPr sz="1800" smtClean="0">
                <a:latin typeface="Calibri" panose="020F0502020204030204" pitchFamily="34" charset="0"/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354374"/>
      </p:ext>
    </p:extLst>
  </p:cSld>
  <p:clrMapOvr>
    <a:masterClrMapping/>
  </p:clrMapOvr>
  <p:hf hdr="0" ftr="0"/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B1B5B15-BEE4-4C87-8635-9334D6069033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908837"/>
      </p:ext>
    </p:extLst>
  </p:cSld>
  <p:clrMapOvr>
    <a:masterClrMapping/>
  </p:clrMapOvr>
  <p:hf hdr="0" ftr="0"/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 sadrž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B1B5B15-BEE4-4C87-8635-9334D6069033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132641"/>
      </p:ext>
    </p:extLst>
  </p:cSld>
  <p:clrMapOvr>
    <a:masterClrMapping/>
  </p:clrMapOvr>
  <p:hf hdr="0" ft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bracket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ihandform 30"/>
          <p:cNvSpPr/>
          <p:nvPr/>
        </p:nvSpPr>
        <p:spPr>
          <a:xfrm>
            <a:off x="276225" y="3825753"/>
            <a:ext cx="8582025" cy="266700"/>
          </a:xfrm>
          <a:custGeom>
            <a:avLst/>
            <a:gdLst>
              <a:gd name="connsiteX0" fmla="*/ 0 w 8582025"/>
              <a:gd name="connsiteY0" fmla="*/ 0 h 266700"/>
              <a:gd name="connsiteX1" fmla="*/ 209550 w 8582025"/>
              <a:gd name="connsiteY1" fmla="*/ 266700 h 266700"/>
              <a:gd name="connsiteX2" fmla="*/ 8391525 w 8582025"/>
              <a:gd name="connsiteY2" fmla="*/ 266700 h 266700"/>
              <a:gd name="connsiteX3" fmla="*/ 8582025 w 8582025"/>
              <a:gd name="connsiteY3" fmla="*/ 9525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82025" h="266700">
                <a:moveTo>
                  <a:pt x="0" y="0"/>
                </a:moveTo>
                <a:lnTo>
                  <a:pt x="209550" y="266700"/>
                </a:lnTo>
                <a:lnTo>
                  <a:pt x="8391525" y="266700"/>
                </a:lnTo>
                <a:lnTo>
                  <a:pt x="8582025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88264-8DCA-42F2-B48F-891C7644940B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1624184"/>
            <a:ext cx="2736000" cy="343022"/>
          </a:xfrm>
          <a:solidFill>
            <a:schemeClr val="accent2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1624184"/>
            <a:ext cx="2736000" cy="343022"/>
          </a:xfrm>
          <a:solidFill>
            <a:schemeClr val="accent1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1624184"/>
            <a:ext cx="2736000" cy="343022"/>
          </a:xfrm>
          <a:solidFill>
            <a:schemeClr val="accent4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>
          <a:xfrm>
            <a:off x="3194050" y="4556125"/>
            <a:ext cx="3610198" cy="1933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5" hasCustomPrompt="1"/>
          </p:nvPr>
        </p:nvSpPr>
        <p:spPr>
          <a:xfrm>
            <a:off x="2916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3650072" y="3924178"/>
            <a:ext cx="1874428" cy="343022"/>
          </a:xfrm>
          <a:solidFill>
            <a:schemeClr val="tx2"/>
          </a:solidFill>
        </p:spPr>
        <p:txBody>
          <a:bodyPr lIns="72000" tIns="0" rIns="7200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29" hasCustomPrompt="1"/>
          </p:nvPr>
        </p:nvSpPr>
        <p:spPr>
          <a:xfrm>
            <a:off x="3201854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7" name="Bildplatzhalter 14"/>
          <p:cNvSpPr>
            <a:spLocks noGrp="1"/>
          </p:cNvSpPr>
          <p:nvPr>
            <p:ph type="pic" sz="quarter" idx="30" hasCustomPrompt="1"/>
          </p:nvPr>
        </p:nvSpPr>
        <p:spPr>
          <a:xfrm>
            <a:off x="61209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1" hasCustomPrompt="1"/>
          </p:nvPr>
        </p:nvSpPr>
        <p:spPr>
          <a:xfrm>
            <a:off x="288925" y="6202790"/>
            <a:ext cx="27360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105509520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-agenda/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D69A-4637-442F-95F4-2803350F1BCE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161925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925" y="1996440"/>
            <a:ext cx="8569325" cy="777240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sz="140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sub item or delete/rearrange text boxes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88925" y="281178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88925" y="3188970"/>
            <a:ext cx="8569325" cy="312038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marL="182563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>
                <a:tab pos="8428038" algn="r"/>
              </a:tabLst>
            </a:pPr>
            <a:r>
              <a:rPr lang="en-US" dirty="0"/>
              <a:t>Click to add sub item or delete/rearrange text boxes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88925" y="3543478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88925" y="3927003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4312557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88925" y="4689706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</p:spTree>
    <p:extLst>
      <p:ext uri="{BB962C8B-B14F-4D97-AF65-F5344CB8AC3E}">
        <p14:creationId xmlns:p14="http://schemas.microsoft.com/office/powerpoint/2010/main" val="1777135184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-text 2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1" y="1575715"/>
            <a:ext cx="5648824" cy="455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F1FA-ABD1-40D0-8304-86742E155357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6121400" y="2298700"/>
            <a:ext cx="2747963" cy="3070226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aseline="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3156636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DDFF4-A2AB-4764-A3CE-715580F27873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096504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680" y="469509"/>
            <a:ext cx="6387840" cy="9581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326880" y="1913046"/>
            <a:ext cx="7741440" cy="3904079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37563369"/>
      </p:ext>
    </p:extLst>
  </p:cSld>
  <p:clrMapOvr>
    <a:masterClrMapping/>
  </p:clrMapOvr>
  <p:transition spd="med">
    <p:wipe dir="r"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-text/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1600" y="1569600"/>
            <a:ext cx="8560062" cy="4572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5C2C-E9DE-45BD-A857-55AECF0C5229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22211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-text/content 2/3 - red subtitle under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D5F1A-A1A0-46DE-AB45-63DA9AA46093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121400" y="1475259"/>
            <a:ext cx="2736850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91600" y="1475259"/>
            <a:ext cx="5654675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298518" y="2298700"/>
            <a:ext cx="5654675" cy="2591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56729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-text/content 4 - 1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88925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664138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5"/>
          </p:nvPr>
        </p:nvSpPr>
        <p:spPr>
          <a:xfrm>
            <a:off x="288925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6"/>
          </p:nvPr>
        </p:nvSpPr>
        <p:spPr>
          <a:xfrm>
            <a:off x="4664138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720250"/>
      </p:ext>
    </p:extLst>
  </p:cSld>
  <p:clrMapOvr>
    <a:masterClrMapping/>
  </p:clrMapOvr>
  <p:hf hdr="0" ftr="0"/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-text 1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E9BE2-A349-480E-9FA8-1B0465CE62E4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3209124" y="2298700"/>
            <a:ext cx="5649126" cy="35065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3203575" y="1627694"/>
            <a:ext cx="5654675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69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56166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-objects 2 - 1/2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22F0-A202-4EA4-BC9B-1A86C5B70692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91600" y="2292853"/>
            <a:ext cx="4189913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7" hasCustomPrompt="1"/>
          </p:nvPr>
        </p:nvSpPr>
        <p:spPr>
          <a:xfrm>
            <a:off x="4664394" y="2292853"/>
            <a:ext cx="4186236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34490"/>
            <a:ext cx="0" cy="416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cxnSp>
        <p:nvCxnSpPr>
          <p:cNvPr id="13" name="Gerader Verbinder 6"/>
          <p:cNvCxnSpPr/>
          <p:nvPr/>
        </p:nvCxnSpPr>
        <p:spPr>
          <a:xfrm>
            <a:off x="4572000" y="1622138"/>
            <a:ext cx="0" cy="4499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09282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-columns 3 - text &amp; arrows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/>
          <p:cNvSpPr/>
          <p:nvPr/>
        </p:nvSpPr>
        <p:spPr>
          <a:xfrm>
            <a:off x="3197460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120683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6604987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hteck 9"/>
          <p:cNvSpPr/>
          <p:nvPr/>
        </p:nvSpPr>
        <p:spPr>
          <a:xfrm>
            <a:off x="291599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86600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1599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2"/>
          </p:nvPr>
        </p:nvSpPr>
        <p:spPr>
          <a:xfrm>
            <a:off x="781235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33"/>
          </p:nvPr>
        </p:nvSpPr>
        <p:spPr>
          <a:xfrm>
            <a:off x="3693111" y="1645884"/>
            <a:ext cx="2166753" cy="617538"/>
          </a:xfr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6164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36"/>
          </p:nvPr>
        </p:nvSpPr>
        <p:spPr>
          <a:xfrm>
            <a:off x="6118658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206578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126556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Freihandform 34"/>
          <p:cNvSpPr/>
          <p:nvPr/>
        </p:nvSpPr>
        <p:spPr>
          <a:xfrm>
            <a:off x="319386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extfeld 6"/>
          <p:cNvSpPr txBox="1"/>
          <p:nvPr/>
        </p:nvSpPr>
        <p:spPr>
          <a:xfrm>
            <a:off x="269075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8" name="Textfeld 27"/>
          <p:cNvSpPr txBox="1"/>
          <p:nvPr/>
        </p:nvSpPr>
        <p:spPr>
          <a:xfrm>
            <a:off x="31932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1" name="Textfeld 43"/>
          <p:cNvSpPr txBox="1"/>
          <p:nvPr/>
        </p:nvSpPr>
        <p:spPr>
          <a:xfrm>
            <a:off x="61269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9" name="Freihandform 38"/>
          <p:cNvSpPr/>
          <p:nvPr/>
        </p:nvSpPr>
        <p:spPr>
          <a:xfrm>
            <a:off x="28302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Freihandform 39"/>
          <p:cNvSpPr/>
          <p:nvPr/>
        </p:nvSpPr>
        <p:spPr>
          <a:xfrm>
            <a:off x="611994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851406"/>
      </p:ext>
    </p:extLst>
  </p:cSld>
  <p:clrMapOvr>
    <a:masterClrMapping/>
  </p:clrMapOvr>
  <p:hf hdr="0" ft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6259C-38AB-42F9-BFD7-FAEBE525E8CB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4950" y="2503115"/>
            <a:ext cx="2729162" cy="349822"/>
          </a:xfrm>
          <a:solidFill>
            <a:schemeClr val="accent2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1250" y="2503115"/>
            <a:ext cx="2745439" cy="349822"/>
          </a:xfrm>
          <a:solidFill>
            <a:schemeClr val="accent1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503115"/>
            <a:ext cx="2727403" cy="349822"/>
          </a:xfrm>
          <a:solidFill>
            <a:schemeClr val="accent4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Gerader Verbinder 17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494112" y="2905125"/>
            <a:ext cx="2520000" cy="126682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2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494112" y="4467225"/>
            <a:ext cx="2520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6" name="Diagrammplatzhalter 7"/>
          <p:cNvSpPr>
            <a:spLocks noGrp="1"/>
          </p:cNvSpPr>
          <p:nvPr>
            <p:ph type="chart" sz="quarter" idx="28"/>
          </p:nvPr>
        </p:nvSpPr>
        <p:spPr>
          <a:xfrm>
            <a:off x="320125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Diagrammplatzhalter 7"/>
          <p:cNvSpPr>
            <a:spLocks noGrp="1"/>
          </p:cNvSpPr>
          <p:nvPr>
            <p:ph type="chart" sz="quarter" idx="29"/>
          </p:nvPr>
        </p:nvSpPr>
        <p:spPr>
          <a:xfrm>
            <a:off x="320125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0" name="Diagrammplatzhalter 7"/>
          <p:cNvSpPr>
            <a:spLocks noGrp="1"/>
          </p:cNvSpPr>
          <p:nvPr>
            <p:ph type="chart" sz="quarter" idx="30"/>
          </p:nvPr>
        </p:nvSpPr>
        <p:spPr>
          <a:xfrm>
            <a:off x="612140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31"/>
          </p:nvPr>
        </p:nvSpPr>
        <p:spPr>
          <a:xfrm>
            <a:off x="612140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2"/>
          </p:nvPr>
        </p:nvSpPr>
        <p:spPr>
          <a:xfrm rot="16200000">
            <a:off x="-304062" y="34726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33"/>
          </p:nvPr>
        </p:nvSpPr>
        <p:spPr>
          <a:xfrm rot="16200000">
            <a:off x="-304062" y="50347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3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32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5" name="Gerader Verbinder 17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4"/>
          <p:cNvCxnSpPr/>
          <p:nvPr userDrawn="1"/>
        </p:nvCxnSpPr>
        <p:spPr>
          <a:xfrm>
            <a:off x="288925" y="4288929"/>
            <a:ext cx="27328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7"/>
          <p:cNvCxnSpPr/>
          <p:nvPr userDrawn="1"/>
        </p:nvCxnSpPr>
        <p:spPr>
          <a:xfrm>
            <a:off x="3201250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1"/>
          <p:cNvCxnSpPr/>
          <p:nvPr userDrawn="1"/>
        </p:nvCxnSpPr>
        <p:spPr>
          <a:xfrm>
            <a:off x="6125425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17897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Gerader Verbinder 29"/>
          <p:cNvCxnSpPr/>
          <p:nvPr/>
        </p:nvCxnSpPr>
        <p:spPr>
          <a:xfrm>
            <a:off x="3483088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291600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291600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24929-C96C-4563-B23F-56BD00E51E1C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777263"/>
            <a:ext cx="2005200" cy="527912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spcBef>
                <a:spcPts val="0"/>
              </a:spcBef>
              <a:buFont typeface="Arial" panose="020B0604020202020204" pitchFamily="34" charset="0"/>
              <a:buNone/>
              <a:tabLst/>
              <a:defRPr lang="de-AT" sz="1200" cap="all" baseline="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cxnSp>
        <p:nvCxnSpPr>
          <p:cNvPr id="43" name="Gerader Verbinder 42"/>
          <p:cNvCxnSpPr/>
          <p:nvPr/>
        </p:nvCxnSpPr>
        <p:spPr>
          <a:xfrm>
            <a:off x="5669616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/>
        </p:nvCxnSpPr>
        <p:spPr>
          <a:xfrm>
            <a:off x="4583857" y="2295922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480885" y="2777263"/>
            <a:ext cx="2005200" cy="52791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4652585" y="2777263"/>
            <a:ext cx="2005200" cy="527912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6852382" y="2777263"/>
            <a:ext cx="2005200" cy="527912"/>
          </a:xfrm>
          <a:solidFill>
            <a:schemeClr val="accent3"/>
          </a:solidFill>
        </p:spPr>
        <p:txBody>
          <a:bodyPr wrap="square" lIns="72000" tIns="36000" rIns="72000" bIns="36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37"/>
          </p:nvPr>
        </p:nvSpPr>
        <p:spPr>
          <a:xfrm rot="16200000">
            <a:off x="-304062" y="3996475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38"/>
          </p:nvPr>
        </p:nvSpPr>
        <p:spPr>
          <a:xfrm rot="16200000">
            <a:off x="-257627" y="5512140"/>
            <a:ext cx="1174206" cy="132125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Diagrammplatzhalter 7"/>
          <p:cNvSpPr>
            <a:spLocks noGrp="1"/>
          </p:cNvSpPr>
          <p:nvPr>
            <p:ph type="chart" sz="quarter" idx="39"/>
          </p:nvPr>
        </p:nvSpPr>
        <p:spPr>
          <a:xfrm>
            <a:off x="24808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40"/>
          </p:nvPr>
        </p:nvSpPr>
        <p:spPr>
          <a:xfrm>
            <a:off x="24808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2" name="Diagrammplatzhalter 7"/>
          <p:cNvSpPr>
            <a:spLocks noGrp="1"/>
          </p:cNvSpPr>
          <p:nvPr>
            <p:ph type="chart" sz="quarter" idx="41"/>
          </p:nvPr>
        </p:nvSpPr>
        <p:spPr>
          <a:xfrm>
            <a:off x="46525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Diagrammplatzhalter 7"/>
          <p:cNvSpPr>
            <a:spLocks noGrp="1"/>
          </p:cNvSpPr>
          <p:nvPr>
            <p:ph type="chart" sz="quarter" idx="42"/>
          </p:nvPr>
        </p:nvSpPr>
        <p:spPr>
          <a:xfrm>
            <a:off x="46525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Diagrammplatzhalter 7"/>
          <p:cNvSpPr>
            <a:spLocks noGrp="1"/>
          </p:cNvSpPr>
          <p:nvPr>
            <p:ph type="chart" sz="quarter" idx="43"/>
          </p:nvPr>
        </p:nvSpPr>
        <p:spPr>
          <a:xfrm>
            <a:off x="6852382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6" name="Diagrammplatzhalter 7"/>
          <p:cNvSpPr>
            <a:spLocks noGrp="1"/>
          </p:cNvSpPr>
          <p:nvPr>
            <p:ph type="chart" sz="quarter" idx="44"/>
          </p:nvPr>
        </p:nvSpPr>
        <p:spPr>
          <a:xfrm>
            <a:off x="6852382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73" name="Freihandform 6"/>
          <p:cNvSpPr/>
          <p:nvPr/>
        </p:nvSpPr>
        <p:spPr>
          <a:xfrm>
            <a:off x="1291480" y="2560712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Freihandform 6"/>
          <p:cNvSpPr/>
          <p:nvPr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0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49" name="Freihandform 6"/>
          <p:cNvSpPr/>
          <p:nvPr userDrawn="1"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56" name="Gerader Verbinder 45"/>
          <p:cNvCxnSpPr/>
          <p:nvPr userDrawn="1"/>
        </p:nvCxnSpPr>
        <p:spPr>
          <a:xfrm>
            <a:off x="282732" y="4777937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3"/>
          <p:cNvCxnSpPr/>
          <p:nvPr userDrawn="1"/>
        </p:nvCxnSpPr>
        <p:spPr>
          <a:xfrm>
            <a:off x="2489199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/>
          <p:cNvCxnSpPr/>
          <p:nvPr userDrawn="1"/>
        </p:nvCxnSpPr>
        <p:spPr>
          <a:xfrm>
            <a:off x="4670424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61"/>
          <p:cNvCxnSpPr/>
          <p:nvPr userDrawn="1"/>
        </p:nvCxnSpPr>
        <p:spPr>
          <a:xfrm>
            <a:off x="6852382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70163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tur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8DBF8-6C51-44BC-AE2F-71860FCD3DEA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07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291600" y="2544763"/>
            <a:ext cx="2005200" cy="153007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78869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1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668813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858756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395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5005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27493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46817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9305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68534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71022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2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24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90068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AEBBD-AC5E-4698-A169-10AEF6D8758F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9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15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69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61172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1208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1262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8180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201780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8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207180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201573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50" name="Textplatzhalt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6133699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5" name="Rechteck 2"/>
          <p:cNvSpPr/>
          <p:nvPr userDrawn="1"/>
        </p:nvSpPr>
        <p:spPr>
          <a:xfrm>
            <a:off x="2875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 lvl="0" indent="0">
              <a:lnSpc>
                <a:spcPts val="16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51" name="Rechteck 43"/>
          <p:cNvSpPr/>
          <p:nvPr userDrawn="1"/>
        </p:nvSpPr>
        <p:spPr>
          <a:xfrm>
            <a:off x="61168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 lvl="0" indent="0">
              <a:lnSpc>
                <a:spcPts val="16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52" name="Rechteck 48"/>
          <p:cNvSpPr/>
          <p:nvPr userDrawn="1"/>
        </p:nvSpPr>
        <p:spPr>
          <a:xfrm>
            <a:off x="3197755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 lvl="0" indent="0">
              <a:lnSpc>
                <a:spcPts val="16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6291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8616D-BF26-4D2D-A112-267FD6842632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6790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976824"/>
            <a:ext cx="19980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390" y="4780012"/>
            <a:ext cx="1980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30"/>
          </p:nvPr>
        </p:nvSpPr>
        <p:spPr>
          <a:xfrm>
            <a:off x="6854953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867553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4665668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4678268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2467592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71192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0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480192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4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1" name="Textplatzhalt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2491211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2" name="Textplatzhalter 12"/>
          <p:cNvSpPr>
            <a:spLocks noGrp="1"/>
          </p:cNvSpPr>
          <p:nvPr>
            <p:ph type="body" sz="quarter" idx="43" hasCustomPrompt="1"/>
          </p:nvPr>
        </p:nvSpPr>
        <p:spPr>
          <a:xfrm>
            <a:off x="468274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3" name="Textplatzhalter 12"/>
          <p:cNvSpPr>
            <a:spLocks noGrp="1"/>
          </p:cNvSpPr>
          <p:nvPr>
            <p:ph type="body" sz="quarter" idx="44" hasCustomPrompt="1"/>
          </p:nvPr>
        </p:nvSpPr>
        <p:spPr>
          <a:xfrm>
            <a:off x="686672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5" name="Rechteck 2"/>
          <p:cNvSpPr/>
          <p:nvPr userDrawn="1"/>
        </p:nvSpPr>
        <p:spPr>
          <a:xfrm>
            <a:off x="286790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 lvl="0" indent="0">
              <a:lnSpc>
                <a:spcPts val="16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66" name="Rechteck 22"/>
          <p:cNvSpPr/>
          <p:nvPr userDrawn="1"/>
        </p:nvSpPr>
        <p:spPr>
          <a:xfrm>
            <a:off x="6854953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 lvl="0" indent="0">
              <a:lnSpc>
                <a:spcPts val="16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67" name="Rechteck 27"/>
          <p:cNvSpPr/>
          <p:nvPr userDrawn="1"/>
        </p:nvSpPr>
        <p:spPr>
          <a:xfrm>
            <a:off x="4665668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 lvl="0" indent="0">
              <a:lnSpc>
                <a:spcPts val="16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68" name="Rechteck 33"/>
          <p:cNvSpPr/>
          <p:nvPr userDrawn="1"/>
        </p:nvSpPr>
        <p:spPr>
          <a:xfrm>
            <a:off x="2467592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 lvl="0" indent="0">
              <a:lnSpc>
                <a:spcPts val="16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6079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5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89366-5B56-499E-BA6A-1F79747195AB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887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8887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67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7294567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7294567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7305367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7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7864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7864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7972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9"/>
          </p:nvPr>
        </p:nvSpPr>
        <p:spPr>
          <a:xfrm>
            <a:off x="20338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0338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7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0446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43"/>
          </p:nvPr>
        </p:nvSpPr>
        <p:spPr>
          <a:xfrm>
            <a:off x="553233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5532335" y="2093397"/>
            <a:ext cx="1569505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2" name="Diagrammplatzhalter 11"/>
          <p:cNvSpPr>
            <a:spLocks noGrp="1"/>
          </p:cNvSpPr>
          <p:nvPr>
            <p:ph type="chart" sz="quarter" idx="45"/>
          </p:nvPr>
        </p:nvSpPr>
        <p:spPr>
          <a:xfrm>
            <a:off x="554313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Rechteck 26"/>
          <p:cNvSpPr/>
          <p:nvPr/>
        </p:nvSpPr>
        <p:spPr>
          <a:xfrm>
            <a:off x="7294567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 lvl="0" indent="0">
              <a:lnSpc>
                <a:spcPts val="18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7864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 lvl="0" indent="0">
              <a:lnSpc>
                <a:spcPts val="18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0338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 lvl="0" indent="0">
              <a:lnSpc>
                <a:spcPts val="18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53233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 lvl="0" indent="0">
              <a:lnSpc>
                <a:spcPts val="18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2" name="Rechteck 2"/>
          <p:cNvSpPr/>
          <p:nvPr/>
        </p:nvSpPr>
        <p:spPr>
          <a:xfrm>
            <a:off x="28887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 lvl="0" indent="0">
              <a:lnSpc>
                <a:spcPts val="1800"/>
              </a:lnSpc>
              <a:spcBef>
                <a:spcPts val="85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</a:pPr>
            <a:endParaRPr lang="en-US" sz="1400" baseline="0" dirty="0">
              <a:solidFill>
                <a:schemeClr val="tx2"/>
              </a:solidFill>
            </a:endParaRPr>
          </a:p>
        </p:txBody>
      </p:sp>
      <p:sp>
        <p:nvSpPr>
          <p:cNvPr id="81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2" name="Textplatzhalter 12"/>
          <p:cNvSpPr>
            <a:spLocks noGrp="1"/>
          </p:cNvSpPr>
          <p:nvPr>
            <p:ph type="body" sz="quarter" idx="46" hasCustomPrompt="1"/>
          </p:nvPr>
        </p:nvSpPr>
        <p:spPr>
          <a:xfrm>
            <a:off x="2045347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3" name="Textplatzhalt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379857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4" name="Textplatzhalt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555180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5" name="Textplatzhalt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7312593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30354755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5934075" cy="4605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5938838" y="1"/>
            <a:ext cx="3204781" cy="22986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8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5938838" y="2304288"/>
            <a:ext cx="3204781" cy="230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419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38"/>
          </p:nvPr>
        </p:nvSpPr>
        <p:spPr>
          <a:xfrm>
            <a:off x="292789" y="4292600"/>
            <a:ext cx="2528887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0E165-890C-4C3B-B00C-845BA0E51C31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40" y="1626434"/>
            <a:ext cx="2860694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594309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911889" y="1626434"/>
            <a:ext cx="320029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027363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5876144" y="1626434"/>
            <a:ext cx="297942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2912596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585802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6"/>
          <p:cNvSpPr>
            <a:spLocks noGrp="1"/>
          </p:cNvSpPr>
          <p:nvPr>
            <p:ph type="body" sz="quarter" idx="39"/>
          </p:nvPr>
        </p:nvSpPr>
        <p:spPr>
          <a:xfrm>
            <a:off x="3027363" y="4292600"/>
            <a:ext cx="2529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40"/>
          </p:nvPr>
        </p:nvSpPr>
        <p:spPr>
          <a:xfrm>
            <a:off x="5943091" y="4292600"/>
            <a:ext cx="2530800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9976038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7047E-3A29-4B71-A144-C980ADA2BDF1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2148229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805122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4451746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212021" y="1626434"/>
            <a:ext cx="240909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2286554" y="2568087"/>
            <a:ext cx="198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4397667" y="1626434"/>
            <a:ext cx="241400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219395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588224" y="1626434"/>
            <a:ext cx="2264631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6617908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53" name="Gerade Verbindung 52"/>
          <p:cNvCxnSpPr/>
          <p:nvPr/>
        </p:nvCxnSpPr>
        <p:spPr>
          <a:xfrm>
            <a:off x="435915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/>
        </p:nvCxnSpPr>
        <p:spPr>
          <a:xfrm>
            <a:off x="65253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41"/>
          </p:nvPr>
        </p:nvSpPr>
        <p:spPr>
          <a:xfrm>
            <a:off x="292789" y="4292600"/>
            <a:ext cx="1798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42"/>
          </p:nvPr>
        </p:nvSpPr>
        <p:spPr>
          <a:xfrm>
            <a:off x="2284054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43"/>
          </p:nvPr>
        </p:nvSpPr>
        <p:spPr>
          <a:xfrm>
            <a:off x="4454316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6624577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6150513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292789" y="4292600"/>
            <a:ext cx="145346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E2BAD-230E-4195-9428-DBCC11E6CF45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1708615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347975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7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3612039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1763758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1854127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511662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8" name="Gerade Verbindung 47"/>
          <p:cNvCxnSpPr/>
          <p:nvPr userDrawn="1"/>
        </p:nvCxnSpPr>
        <p:spPr>
          <a:xfrm>
            <a:off x="1747792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5259566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5369951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64" name="Gerade Verbindung 63"/>
          <p:cNvCxnSpPr/>
          <p:nvPr/>
        </p:nvCxnSpPr>
        <p:spPr>
          <a:xfrm>
            <a:off x="350609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 userDrawn="1"/>
        </p:nvCxnSpPr>
        <p:spPr>
          <a:xfrm>
            <a:off x="70227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12"/>
          <p:cNvSpPr>
            <a:spLocks noGrp="1"/>
          </p:cNvSpPr>
          <p:nvPr>
            <p:ph type="body" sz="quarter" idx="41"/>
          </p:nvPr>
        </p:nvSpPr>
        <p:spPr>
          <a:xfrm>
            <a:off x="7007469" y="1626434"/>
            <a:ext cx="184210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7" name="Gerade Verbindung 66"/>
          <p:cNvCxnSpPr/>
          <p:nvPr/>
        </p:nvCxnSpPr>
        <p:spPr>
          <a:xfrm>
            <a:off x="5264404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7127862" y="2568087"/>
            <a:ext cx="144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45"/>
          </p:nvPr>
        </p:nvSpPr>
        <p:spPr>
          <a:xfrm>
            <a:off x="1854171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46"/>
          </p:nvPr>
        </p:nvSpPr>
        <p:spPr>
          <a:xfrm>
            <a:off x="3605334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6"/>
          <p:cNvSpPr>
            <a:spLocks noGrp="1"/>
          </p:cNvSpPr>
          <p:nvPr>
            <p:ph type="body" sz="quarter" idx="47"/>
          </p:nvPr>
        </p:nvSpPr>
        <p:spPr>
          <a:xfrm>
            <a:off x="5365122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48"/>
          </p:nvPr>
        </p:nvSpPr>
        <p:spPr>
          <a:xfrm>
            <a:off x="7133537" y="4292600"/>
            <a:ext cx="1542919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3459502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DDFF4-A2AB-4764-A3CE-715580F27873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00114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5016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gridlines - pls don'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Raster </a:t>
            </a:r>
            <a:r>
              <a:rPr lang="en-US" dirty="0" err="1"/>
              <a:t>nur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neuerlichen</a:t>
            </a:r>
            <a:r>
              <a:rPr lang="en-US" dirty="0"/>
              <a:t> </a:t>
            </a:r>
            <a:r>
              <a:rPr lang="en-US" dirty="0" err="1"/>
              <a:t>Ausrichtung</a:t>
            </a:r>
            <a:r>
              <a:rPr lang="en-US" dirty="0"/>
              <a:t> der </a:t>
            </a:r>
            <a:r>
              <a:rPr lang="en-US" dirty="0" err="1"/>
              <a:t>Hilfslinie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verwenden</a:t>
            </a:r>
            <a:r>
              <a:rPr lang="en-US" dirty="0"/>
              <a:t>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28B82-505B-44E6-AD30-0FE5D7FE48C8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Mittelkreuz"/>
          <p:cNvGrpSpPr/>
          <p:nvPr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37" name="Mittellinie vertikal"/>
            <p:cNvCxnSpPr/>
            <p:nvPr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9" name="Mittellinie horizontal"/>
            <p:cNvCxnSpPr/>
            <p:nvPr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99" name="Rechteckige Legende 16"/>
            <p:cNvSpPr/>
            <p:nvPr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cap="none" dirty="0" err="1">
                  <a:solidFill>
                    <a:schemeClr val="tx1"/>
                  </a:solidFill>
                </a:rPr>
                <a:t>Abstand</a:t>
              </a:r>
              <a:r>
                <a:rPr lang="en-US" sz="1050" cap="none" dirty="0">
                  <a:solidFill>
                    <a:schemeClr val="tx1"/>
                  </a:solidFill>
                </a:rPr>
                <a:t> der </a:t>
              </a:r>
              <a:r>
                <a:rPr lang="en-US" sz="1050" cap="none" dirty="0" err="1">
                  <a:solidFill>
                    <a:schemeClr val="tx1"/>
                  </a:solidFill>
                </a:rPr>
                <a:t>Hilfslinien</a:t>
              </a:r>
              <a:r>
                <a:rPr lang="en-US" sz="1050" cap="none" dirty="0">
                  <a:solidFill>
                    <a:schemeClr val="tx1"/>
                  </a:solidFill>
                </a:rPr>
                <a:t> </a:t>
              </a:r>
              <a:r>
                <a:rPr lang="en-US" sz="1050" cap="none" dirty="0" err="1">
                  <a:solidFill>
                    <a:schemeClr val="tx1"/>
                  </a:solidFill>
                </a:rPr>
                <a:t>vom</a:t>
              </a:r>
              <a:r>
                <a:rPr lang="en-US" sz="1050" cap="none" baseline="0" dirty="0">
                  <a:solidFill>
                    <a:schemeClr val="tx1"/>
                  </a:solidFill>
                </a:rPr>
                <a:t> </a:t>
              </a:r>
              <a:r>
                <a:rPr lang="en-US" sz="1050" cap="none" baseline="0" dirty="0" err="1">
                  <a:solidFill>
                    <a:schemeClr val="tx1"/>
                  </a:solidFill>
                </a:rPr>
                <a:t>Mittelpunkt</a:t>
              </a:r>
              <a:r>
                <a:rPr lang="en-US" sz="1050" cap="none" baseline="0" dirty="0">
                  <a:solidFill>
                    <a:schemeClr val="tx1"/>
                  </a:solidFill>
                </a:rPr>
                <a:t> </a:t>
              </a:r>
              <a:r>
                <a:rPr lang="en-US" sz="1050" cap="none" baseline="0" dirty="0" err="1">
                  <a:solidFill>
                    <a:schemeClr val="tx1"/>
                  </a:solidFill>
                </a:rPr>
                <a:t>weg</a:t>
              </a:r>
              <a:r>
                <a:rPr lang="en-US" sz="1050" cap="none" baseline="0" dirty="0">
                  <a:solidFill>
                    <a:schemeClr val="tx1"/>
                  </a:solidFill>
                </a:rPr>
                <a:t> </a:t>
              </a:r>
              <a:r>
                <a:rPr lang="en-US" sz="1050" cap="none" baseline="0" dirty="0" err="1">
                  <a:solidFill>
                    <a:schemeClr val="tx1"/>
                  </a:solidFill>
                </a:rPr>
                <a:t>gemessen</a:t>
              </a:r>
              <a:endParaRPr lang="en-US" sz="1050" cap="none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3" name="Links horizontal"/>
          <p:cNvGrpSpPr/>
          <p:nvPr userDrawn="1"/>
        </p:nvGrpSpPr>
        <p:grpSpPr>
          <a:xfrm>
            <a:off x="284950" y="1862906"/>
            <a:ext cx="4372144" cy="1153658"/>
            <a:chOff x="284950" y="1862906"/>
            <a:chExt cx="4372144" cy="1153658"/>
          </a:xfrm>
        </p:grpSpPr>
        <p:cxnSp>
          <p:nvCxnSpPr>
            <p:cNvPr id="94" name="Gerade Verbindung mit Pfeil 6"/>
            <p:cNvCxnSpPr/>
            <p:nvPr/>
          </p:nvCxnSpPr>
          <p:spPr>
            <a:xfrm flipH="1">
              <a:off x="4483100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5" name="Textfeld 15"/>
            <p:cNvSpPr txBox="1"/>
            <p:nvPr userDrawn="1"/>
          </p:nvSpPr>
          <p:spPr>
            <a:xfrm>
              <a:off x="4270450" y="2801120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0,25</a:t>
              </a:r>
            </a:p>
          </p:txBody>
        </p:sp>
        <p:cxnSp>
          <p:nvCxnSpPr>
            <p:cNvPr id="96" name="Gerade Verbindung mit Pfeil 35"/>
            <p:cNvCxnSpPr/>
            <p:nvPr userDrawn="1"/>
          </p:nvCxnSpPr>
          <p:spPr>
            <a:xfrm flipH="1">
              <a:off x="3205163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7" name="Textfeld 90"/>
            <p:cNvSpPr txBox="1"/>
            <p:nvPr userDrawn="1"/>
          </p:nvSpPr>
          <p:spPr>
            <a:xfrm flipH="1">
              <a:off x="3377476" y="2610619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3,8</a:t>
              </a:r>
            </a:p>
          </p:txBody>
        </p:sp>
        <p:cxnSp>
          <p:nvCxnSpPr>
            <p:cNvPr id="98" name="Gerade Verbindung mit Pfeil 37"/>
            <p:cNvCxnSpPr/>
            <p:nvPr userDrawn="1"/>
          </p:nvCxnSpPr>
          <p:spPr>
            <a:xfrm flipH="1">
              <a:off x="302260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9" name="Textfeld 77"/>
            <p:cNvSpPr txBox="1"/>
            <p:nvPr userDrawn="1"/>
          </p:nvSpPr>
          <p:spPr>
            <a:xfrm>
              <a:off x="3213008" y="2467744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4,3</a:t>
              </a:r>
            </a:p>
          </p:txBody>
        </p:sp>
        <p:cxnSp>
          <p:nvCxnSpPr>
            <p:cNvPr id="100" name="Gerade Verbindung mit Pfeil 66"/>
            <p:cNvCxnSpPr/>
            <p:nvPr userDrawn="1"/>
          </p:nvCxnSpPr>
          <p:spPr>
            <a:xfrm flipH="1">
              <a:off x="174625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1" name="Textfeld 76"/>
            <p:cNvSpPr txBox="1"/>
            <p:nvPr userDrawn="1"/>
          </p:nvSpPr>
          <p:spPr>
            <a:xfrm>
              <a:off x="1965875" y="2120081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7,85</a:t>
              </a:r>
            </a:p>
          </p:txBody>
        </p:sp>
        <p:cxnSp>
          <p:nvCxnSpPr>
            <p:cNvPr id="102" name="Gerade Verbindung mit Pfeil 67"/>
            <p:cNvCxnSpPr/>
            <p:nvPr userDrawn="1"/>
          </p:nvCxnSpPr>
          <p:spPr>
            <a:xfrm flipH="1">
              <a:off x="1567181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3" name="Textfeld 75"/>
            <p:cNvSpPr txBox="1"/>
            <p:nvPr userDrawn="1"/>
          </p:nvSpPr>
          <p:spPr>
            <a:xfrm>
              <a:off x="1711781" y="1991494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8,35</a:t>
              </a:r>
            </a:p>
          </p:txBody>
        </p:sp>
        <p:cxnSp>
          <p:nvCxnSpPr>
            <p:cNvPr id="104" name="Gerade Verbindung mit Pfeil 68"/>
            <p:cNvCxnSpPr/>
            <p:nvPr userDrawn="1"/>
          </p:nvCxnSpPr>
          <p:spPr>
            <a:xfrm flipH="1">
              <a:off x="28495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17" name="Textfeld 74"/>
            <p:cNvSpPr txBox="1"/>
            <p:nvPr userDrawn="1"/>
          </p:nvSpPr>
          <p:spPr>
            <a:xfrm>
              <a:off x="468488" y="1862906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11,9</a:t>
              </a:r>
            </a:p>
          </p:txBody>
        </p:sp>
      </p:grpSp>
      <p:grpSp>
        <p:nvGrpSpPr>
          <p:cNvPr id="118" name="Rechts horizontal"/>
          <p:cNvGrpSpPr/>
          <p:nvPr userDrawn="1"/>
        </p:nvGrpSpPr>
        <p:grpSpPr>
          <a:xfrm>
            <a:off x="4570080" y="1862906"/>
            <a:ext cx="4285466" cy="1153658"/>
            <a:chOff x="4570080" y="1862906"/>
            <a:chExt cx="4285466" cy="1153658"/>
          </a:xfrm>
        </p:grpSpPr>
        <p:cxnSp>
          <p:nvCxnSpPr>
            <p:cNvPr id="119" name="Gerade Verbindung mit Pfeil 84"/>
            <p:cNvCxnSpPr/>
            <p:nvPr userDrawn="1"/>
          </p:nvCxnSpPr>
          <p:spPr>
            <a:xfrm>
              <a:off x="457008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0" name="Textfeld 86"/>
            <p:cNvSpPr txBox="1"/>
            <p:nvPr userDrawn="1"/>
          </p:nvSpPr>
          <p:spPr>
            <a:xfrm flipH="1">
              <a:off x="8220426" y="1862906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-11,9</a:t>
              </a:r>
            </a:p>
          </p:txBody>
        </p:sp>
        <p:cxnSp>
          <p:nvCxnSpPr>
            <p:cNvPr id="121" name="Gerade Verbindung mit Pfeil 83"/>
            <p:cNvCxnSpPr/>
            <p:nvPr userDrawn="1"/>
          </p:nvCxnSpPr>
          <p:spPr>
            <a:xfrm>
              <a:off x="4570080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2" name="Textfeld 87"/>
            <p:cNvSpPr txBox="1"/>
            <p:nvPr userDrawn="1"/>
          </p:nvSpPr>
          <p:spPr>
            <a:xfrm flipH="1">
              <a:off x="7006560" y="1991494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-8,35</a:t>
              </a:r>
            </a:p>
          </p:txBody>
        </p:sp>
        <p:cxnSp>
          <p:nvCxnSpPr>
            <p:cNvPr id="123" name="Gerade Verbindung mit Pfeil 82"/>
            <p:cNvCxnSpPr/>
            <p:nvPr userDrawn="1"/>
          </p:nvCxnSpPr>
          <p:spPr>
            <a:xfrm>
              <a:off x="457008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7" name="Textfeld 88"/>
            <p:cNvSpPr txBox="1"/>
            <p:nvPr userDrawn="1"/>
          </p:nvSpPr>
          <p:spPr>
            <a:xfrm flipH="1">
              <a:off x="6726441" y="2120081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-7,85</a:t>
              </a:r>
            </a:p>
          </p:txBody>
        </p:sp>
        <p:cxnSp>
          <p:nvCxnSpPr>
            <p:cNvPr id="130" name="Gerade Verbindung mit Pfeil 81"/>
            <p:cNvCxnSpPr/>
            <p:nvPr userDrawn="1"/>
          </p:nvCxnSpPr>
          <p:spPr>
            <a:xfrm>
              <a:off x="457008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1" name="Textfeld 89"/>
            <p:cNvSpPr txBox="1"/>
            <p:nvPr userDrawn="1"/>
          </p:nvSpPr>
          <p:spPr>
            <a:xfrm flipH="1">
              <a:off x="5550235" y="2467744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-4,3</a:t>
              </a:r>
            </a:p>
          </p:txBody>
        </p:sp>
        <p:cxnSp>
          <p:nvCxnSpPr>
            <p:cNvPr id="166" name="Gerade Verbindung mit Pfeil 80"/>
            <p:cNvCxnSpPr/>
            <p:nvPr userDrawn="1"/>
          </p:nvCxnSpPr>
          <p:spPr>
            <a:xfrm>
              <a:off x="4570080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4" name="Textfeld 90"/>
            <p:cNvSpPr txBox="1"/>
            <p:nvPr userDrawn="1"/>
          </p:nvSpPr>
          <p:spPr>
            <a:xfrm flipH="1">
              <a:off x="5336325" y="2610619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-3,8</a:t>
              </a:r>
            </a:p>
          </p:txBody>
        </p:sp>
        <p:cxnSp>
          <p:nvCxnSpPr>
            <p:cNvPr id="186" name="Gerade Verbindung mit Pfeil 79"/>
            <p:cNvCxnSpPr/>
            <p:nvPr userDrawn="1"/>
          </p:nvCxnSpPr>
          <p:spPr>
            <a:xfrm>
              <a:off x="4581832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7" name="Textfeld 85"/>
            <p:cNvSpPr txBox="1"/>
            <p:nvPr userDrawn="1"/>
          </p:nvSpPr>
          <p:spPr>
            <a:xfrm flipH="1">
              <a:off x="4570080" y="2801120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-0,25</a:t>
              </a:r>
            </a:p>
          </p:txBody>
        </p:sp>
      </p:grpSp>
      <p:grpSp>
        <p:nvGrpSpPr>
          <p:cNvPr id="201" name="Unten vertikal"/>
          <p:cNvGrpSpPr/>
          <p:nvPr userDrawn="1"/>
        </p:nvGrpSpPr>
        <p:grpSpPr>
          <a:xfrm>
            <a:off x="1928739" y="3429000"/>
            <a:ext cx="979652" cy="2706853"/>
            <a:chOff x="1928739" y="3429000"/>
            <a:chExt cx="979652" cy="2706853"/>
          </a:xfrm>
        </p:grpSpPr>
        <p:cxnSp>
          <p:nvCxnSpPr>
            <p:cNvPr id="202" name="Gerade Verbindung mit Pfeil 102"/>
            <p:cNvCxnSpPr/>
            <p:nvPr userDrawn="1"/>
          </p:nvCxnSpPr>
          <p:spPr>
            <a:xfrm>
              <a:off x="2875434" y="3429000"/>
              <a:ext cx="0" cy="270685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3" name="Textfeld 116"/>
            <p:cNvSpPr txBox="1"/>
            <p:nvPr userDrawn="1"/>
          </p:nvSpPr>
          <p:spPr>
            <a:xfrm>
              <a:off x="1928739" y="3466610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1,12</a:t>
              </a:r>
            </a:p>
          </p:txBody>
        </p:sp>
        <p:cxnSp>
          <p:nvCxnSpPr>
            <p:cNvPr id="204" name="Gerade Verbindung mit Pfeil 96"/>
            <p:cNvCxnSpPr/>
            <p:nvPr userDrawn="1"/>
          </p:nvCxnSpPr>
          <p:spPr>
            <a:xfrm>
              <a:off x="2011185" y="3429000"/>
              <a:ext cx="0" cy="40291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5" name="Textfeld 117"/>
            <p:cNvSpPr txBox="1"/>
            <p:nvPr userDrawn="1"/>
          </p:nvSpPr>
          <p:spPr>
            <a:xfrm>
              <a:off x="2096786" y="363437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1,37</a:t>
              </a:r>
            </a:p>
          </p:txBody>
        </p:sp>
        <p:cxnSp>
          <p:nvCxnSpPr>
            <p:cNvPr id="206" name="Gerade Verbindung mit Pfeil 97"/>
            <p:cNvCxnSpPr/>
            <p:nvPr userDrawn="1"/>
          </p:nvCxnSpPr>
          <p:spPr>
            <a:xfrm>
              <a:off x="2165335" y="3429000"/>
              <a:ext cx="0" cy="4937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7" name="Textfeld 118"/>
            <p:cNvSpPr txBox="1"/>
            <p:nvPr/>
          </p:nvSpPr>
          <p:spPr>
            <a:xfrm>
              <a:off x="2115836" y="43265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3,25</a:t>
              </a:r>
            </a:p>
          </p:txBody>
        </p:sp>
        <p:cxnSp>
          <p:nvCxnSpPr>
            <p:cNvPr id="208" name="Gerade Verbindung mit Pfeil 98"/>
            <p:cNvCxnSpPr/>
            <p:nvPr userDrawn="1"/>
          </p:nvCxnSpPr>
          <p:spPr>
            <a:xfrm>
              <a:off x="2319485" y="3429000"/>
              <a:ext cx="0" cy="117395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9" name="Textfeld 119"/>
            <p:cNvSpPr txBox="1"/>
            <p:nvPr userDrawn="1"/>
          </p:nvSpPr>
          <p:spPr>
            <a:xfrm>
              <a:off x="2395236" y="44408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3,5</a:t>
              </a:r>
            </a:p>
          </p:txBody>
        </p:sp>
        <p:cxnSp>
          <p:nvCxnSpPr>
            <p:cNvPr id="210" name="Gerade Verbindung mit Pfeil 99"/>
            <p:cNvCxnSpPr/>
            <p:nvPr userDrawn="1"/>
          </p:nvCxnSpPr>
          <p:spPr>
            <a:xfrm>
              <a:off x="2473635" y="3429000"/>
              <a:ext cx="0" cy="126206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1" name="Textfeld 120"/>
            <p:cNvSpPr txBox="1"/>
            <p:nvPr userDrawn="1"/>
          </p:nvSpPr>
          <p:spPr>
            <a:xfrm>
              <a:off x="2420255" y="504170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5,38</a:t>
              </a:r>
            </a:p>
          </p:txBody>
        </p:sp>
        <p:cxnSp>
          <p:nvCxnSpPr>
            <p:cNvPr id="212" name="Gerade Verbindung mit Pfeil 100"/>
            <p:cNvCxnSpPr/>
            <p:nvPr userDrawn="1"/>
          </p:nvCxnSpPr>
          <p:spPr>
            <a:xfrm>
              <a:off x="2627784" y="3429000"/>
              <a:ext cx="0" cy="19415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3" name="Textfeld 121"/>
            <p:cNvSpPr txBox="1"/>
            <p:nvPr userDrawn="1"/>
          </p:nvSpPr>
          <p:spPr>
            <a:xfrm>
              <a:off x="2686955" y="520176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5,63</a:t>
              </a:r>
            </a:p>
          </p:txBody>
        </p:sp>
        <p:cxnSp>
          <p:nvCxnSpPr>
            <p:cNvPr id="214" name="Gerade Verbindung mit Pfeil 101"/>
            <p:cNvCxnSpPr/>
            <p:nvPr userDrawn="1"/>
          </p:nvCxnSpPr>
          <p:spPr>
            <a:xfrm>
              <a:off x="2756371" y="3429000"/>
              <a:ext cx="0" cy="203200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5" name="Textfeld 122"/>
            <p:cNvSpPr txBox="1"/>
            <p:nvPr userDrawn="1"/>
          </p:nvSpPr>
          <p:spPr>
            <a:xfrm>
              <a:off x="2655205" y="590661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7,51</a:t>
              </a:r>
            </a:p>
          </p:txBody>
        </p:sp>
      </p:grpSp>
      <p:grpSp>
        <p:nvGrpSpPr>
          <p:cNvPr id="216" name="Oben vertikal"/>
          <p:cNvGrpSpPr/>
          <p:nvPr userDrawn="1"/>
        </p:nvGrpSpPr>
        <p:grpSpPr>
          <a:xfrm>
            <a:off x="417195" y="1622737"/>
            <a:ext cx="883952" cy="1806266"/>
            <a:chOff x="417195" y="1622737"/>
            <a:chExt cx="883952" cy="1806266"/>
          </a:xfrm>
        </p:grpSpPr>
        <p:cxnSp>
          <p:nvCxnSpPr>
            <p:cNvPr id="217" name="Gerade Verbindung mit Pfeil 22"/>
            <p:cNvCxnSpPr/>
            <p:nvPr/>
          </p:nvCxnSpPr>
          <p:spPr>
            <a:xfrm flipV="1">
              <a:off x="656527" y="3157525"/>
              <a:ext cx="0" cy="27147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8" name="Textfeld 78"/>
            <p:cNvSpPr txBox="1"/>
            <p:nvPr userDrawn="1"/>
          </p:nvSpPr>
          <p:spPr>
            <a:xfrm>
              <a:off x="417195" y="3276985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0,76</a:t>
              </a:r>
            </a:p>
          </p:txBody>
        </p:sp>
        <p:cxnSp>
          <p:nvCxnSpPr>
            <p:cNvPr id="219" name="Gerade Verbindung mit Pfeil 92"/>
            <p:cNvCxnSpPr/>
            <p:nvPr userDrawn="1"/>
          </p:nvCxnSpPr>
          <p:spPr>
            <a:xfrm flipV="1">
              <a:off x="810677" y="3066100"/>
              <a:ext cx="0" cy="362901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0" name="Textfeld 103"/>
            <p:cNvSpPr txBox="1"/>
            <p:nvPr userDrawn="1"/>
          </p:nvSpPr>
          <p:spPr>
            <a:xfrm>
              <a:off x="738031" y="3175385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1,01</a:t>
              </a:r>
            </a:p>
          </p:txBody>
        </p:sp>
        <p:cxnSp>
          <p:nvCxnSpPr>
            <p:cNvPr id="221" name="Gerade Verbindung mit Pfeil 93"/>
            <p:cNvCxnSpPr/>
            <p:nvPr userDrawn="1"/>
          </p:nvCxnSpPr>
          <p:spPr>
            <a:xfrm flipV="1">
              <a:off x="964827" y="2388396"/>
              <a:ext cx="0" cy="104060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2" name="Textfeld 112"/>
            <p:cNvSpPr txBox="1"/>
            <p:nvPr userDrawn="1"/>
          </p:nvSpPr>
          <p:spPr>
            <a:xfrm>
              <a:off x="738859" y="25991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2,89</a:t>
              </a:r>
            </a:p>
          </p:txBody>
        </p:sp>
        <p:cxnSp>
          <p:nvCxnSpPr>
            <p:cNvPr id="223" name="Gerade Verbindung mit Pfeil 94"/>
            <p:cNvCxnSpPr/>
            <p:nvPr userDrawn="1"/>
          </p:nvCxnSpPr>
          <p:spPr>
            <a:xfrm flipV="1">
              <a:off x="1118977" y="2295525"/>
              <a:ext cx="0" cy="1133477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4" name="Textfeld 113"/>
            <p:cNvSpPr txBox="1"/>
            <p:nvPr userDrawn="1"/>
          </p:nvSpPr>
          <p:spPr>
            <a:xfrm>
              <a:off x="1048124" y="24340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3,14</a:t>
              </a:r>
            </a:p>
          </p:txBody>
        </p:sp>
        <p:cxnSp>
          <p:nvCxnSpPr>
            <p:cNvPr id="225" name="Gerade Verbindung mit Pfeil 95"/>
            <p:cNvCxnSpPr/>
            <p:nvPr userDrawn="1"/>
          </p:nvCxnSpPr>
          <p:spPr>
            <a:xfrm flipV="1">
              <a:off x="1273126" y="1622737"/>
              <a:ext cx="0" cy="180626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6" name="Textfeld 115"/>
            <p:cNvSpPr txBox="1"/>
            <p:nvPr/>
          </p:nvSpPr>
          <p:spPr>
            <a:xfrm>
              <a:off x="1018866" y="1665683"/>
              <a:ext cx="28228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tx2"/>
                  </a:solidFill>
                </a:rPr>
                <a:t>5,02</a:t>
              </a:r>
            </a:p>
          </p:txBody>
        </p:sp>
      </p:grpSp>
      <p:grpSp>
        <p:nvGrpSpPr>
          <p:cNvPr id="227" name="Rasterlinien"/>
          <p:cNvGrpSpPr/>
          <p:nvPr userDrawn="1"/>
        </p:nvGrpSpPr>
        <p:grpSpPr>
          <a:xfrm>
            <a:off x="0" y="0"/>
            <a:ext cx="9149070" cy="6852284"/>
            <a:chOff x="0" y="0"/>
            <a:chExt cx="9149070" cy="6852284"/>
          </a:xfrm>
        </p:grpSpPr>
        <p:cxnSp>
          <p:nvCxnSpPr>
            <p:cNvPr id="228" name="Gerader Verbinder 40"/>
            <p:cNvCxnSpPr/>
            <p:nvPr userDrawn="1"/>
          </p:nvCxnSpPr>
          <p:spPr>
            <a:xfrm>
              <a:off x="174434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9" name="Gerader Verbinder 41"/>
            <p:cNvCxnSpPr/>
            <p:nvPr userDrawn="1"/>
          </p:nvCxnSpPr>
          <p:spPr>
            <a:xfrm>
              <a:off x="302133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0" name="Gerader Verbinder 42"/>
            <p:cNvCxnSpPr/>
            <p:nvPr userDrawn="1"/>
          </p:nvCxnSpPr>
          <p:spPr>
            <a:xfrm>
              <a:off x="3202464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1" name="Gerader Verbinder 43"/>
            <p:cNvCxnSpPr/>
            <p:nvPr userDrawn="1"/>
          </p:nvCxnSpPr>
          <p:spPr>
            <a:xfrm>
              <a:off x="448071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2" name="Gerader Verbinder 44"/>
            <p:cNvCxnSpPr/>
            <p:nvPr userDrawn="1"/>
          </p:nvCxnSpPr>
          <p:spPr>
            <a:xfrm>
              <a:off x="465947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3" name="Gerader Verbinder 45"/>
            <p:cNvCxnSpPr/>
            <p:nvPr userDrawn="1"/>
          </p:nvCxnSpPr>
          <p:spPr>
            <a:xfrm>
              <a:off x="59390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4" name="Gerader Verbinder 46"/>
            <p:cNvCxnSpPr/>
            <p:nvPr userDrawn="1"/>
          </p:nvCxnSpPr>
          <p:spPr>
            <a:xfrm>
              <a:off x="6120130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5" name="Gerader Verbinder 47"/>
            <p:cNvCxnSpPr/>
            <p:nvPr userDrawn="1"/>
          </p:nvCxnSpPr>
          <p:spPr>
            <a:xfrm>
              <a:off x="73977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6" name="Gerader Verbinder 48"/>
            <p:cNvCxnSpPr/>
            <p:nvPr userDrawn="1"/>
          </p:nvCxnSpPr>
          <p:spPr>
            <a:xfrm>
              <a:off x="7576502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7" name="Gerader Verbinder 49"/>
            <p:cNvCxnSpPr/>
            <p:nvPr userDrawn="1"/>
          </p:nvCxnSpPr>
          <p:spPr>
            <a:xfrm>
              <a:off x="1564006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8" name="Gerader Verbinder 50"/>
            <p:cNvCxnSpPr/>
            <p:nvPr userDrawn="1"/>
          </p:nvCxnSpPr>
          <p:spPr>
            <a:xfrm>
              <a:off x="286703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9" name="Gerader Verbinder 51"/>
            <p:cNvCxnSpPr/>
            <p:nvPr userDrawn="1"/>
          </p:nvCxnSpPr>
          <p:spPr>
            <a:xfrm>
              <a:off x="885635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0" name="Gerader Verbinder 52"/>
            <p:cNvCxnSpPr/>
            <p:nvPr userDrawn="1"/>
          </p:nvCxnSpPr>
          <p:spPr>
            <a:xfrm>
              <a:off x="0" y="1034415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1" name="Gerader Verbinder 53"/>
            <p:cNvCxnSpPr/>
            <p:nvPr userDrawn="1"/>
          </p:nvCxnSpPr>
          <p:spPr>
            <a:xfrm>
              <a:off x="0" y="162083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2" name="Gerader Verbinder 54"/>
            <p:cNvCxnSpPr/>
            <p:nvPr userDrawn="1"/>
          </p:nvCxnSpPr>
          <p:spPr>
            <a:xfrm>
              <a:off x="0" y="22955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3" name="Gerader Verbinder 55"/>
            <p:cNvCxnSpPr/>
            <p:nvPr userDrawn="1"/>
          </p:nvCxnSpPr>
          <p:spPr>
            <a:xfrm>
              <a:off x="0" y="238649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4" name="Gerader Verbinder 56"/>
            <p:cNvCxnSpPr/>
            <p:nvPr userDrawn="1"/>
          </p:nvCxnSpPr>
          <p:spPr>
            <a:xfrm>
              <a:off x="0" y="306467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5" name="Gerader Verbinder 57"/>
            <p:cNvCxnSpPr/>
            <p:nvPr userDrawn="1"/>
          </p:nvCxnSpPr>
          <p:spPr>
            <a:xfrm>
              <a:off x="5070" y="315514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6" name="Gerader Verbinder 58"/>
            <p:cNvCxnSpPr/>
            <p:nvPr userDrawn="1"/>
          </p:nvCxnSpPr>
          <p:spPr>
            <a:xfrm>
              <a:off x="0" y="3831910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7" name="Gerader Verbinder 59"/>
            <p:cNvCxnSpPr/>
            <p:nvPr userDrawn="1"/>
          </p:nvCxnSpPr>
          <p:spPr>
            <a:xfrm>
              <a:off x="0" y="392032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8" name="Gerader Verbinder 60"/>
            <p:cNvCxnSpPr/>
            <p:nvPr userDrawn="1"/>
          </p:nvCxnSpPr>
          <p:spPr>
            <a:xfrm>
              <a:off x="0" y="459978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9" name="Gerader Verbinder 61"/>
            <p:cNvCxnSpPr/>
            <p:nvPr userDrawn="1"/>
          </p:nvCxnSpPr>
          <p:spPr>
            <a:xfrm>
              <a:off x="0" y="468773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0" name="Gerader Verbinder 62"/>
            <p:cNvCxnSpPr/>
            <p:nvPr userDrawn="1"/>
          </p:nvCxnSpPr>
          <p:spPr>
            <a:xfrm>
              <a:off x="0" y="53662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1" name="Gerader Verbinder 63"/>
            <p:cNvCxnSpPr/>
            <p:nvPr userDrawn="1"/>
          </p:nvCxnSpPr>
          <p:spPr>
            <a:xfrm>
              <a:off x="0" y="545544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2" name="Gerader Verbinder 64"/>
            <p:cNvCxnSpPr/>
            <p:nvPr userDrawn="1"/>
          </p:nvCxnSpPr>
          <p:spPr>
            <a:xfrm>
              <a:off x="0" y="613267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3" name="Gerader Verbinder 65"/>
            <p:cNvCxnSpPr/>
            <p:nvPr userDrawn="1"/>
          </p:nvCxnSpPr>
          <p:spPr>
            <a:xfrm>
              <a:off x="0" y="33623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54" name="Abstandsbox"/>
          <p:cNvGrpSpPr/>
          <p:nvPr userDrawn="1"/>
        </p:nvGrpSpPr>
        <p:grpSpPr>
          <a:xfrm>
            <a:off x="6967053" y="3831910"/>
            <a:ext cx="1902050" cy="742919"/>
            <a:chOff x="6967053" y="3831910"/>
            <a:chExt cx="1902050" cy="742919"/>
          </a:xfrm>
        </p:grpSpPr>
        <p:sp>
          <p:nvSpPr>
            <p:cNvPr id="255" name="Rechteckige Legende 124"/>
            <p:cNvSpPr/>
            <p:nvPr userDrawn="1"/>
          </p:nvSpPr>
          <p:spPr>
            <a:xfrm>
              <a:off x="6967053" y="4132501"/>
              <a:ext cx="1902050" cy="442328"/>
            </a:xfrm>
            <a:prstGeom prst="wedgeRoundRectCallout">
              <a:avLst>
                <a:gd name="adj1" fmla="val -23390"/>
                <a:gd name="adj2" fmla="val -87045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cap="none" dirty="0">
                  <a:solidFill>
                    <a:schemeClr val="tx1"/>
                  </a:solidFill>
                </a:rPr>
                <a:t>Horizontal distance: 0,5</a:t>
              </a:r>
              <a:r>
                <a:rPr lang="en-US" sz="1050" cap="none" baseline="0" dirty="0">
                  <a:solidFill>
                    <a:schemeClr val="tx1"/>
                  </a:solidFill>
                </a:rPr>
                <a:t> cm</a:t>
              </a:r>
            </a:p>
            <a:p>
              <a:pPr algn="ctr"/>
              <a:r>
                <a:rPr lang="en-US" sz="1050" cap="none" baseline="0" dirty="0">
                  <a:solidFill>
                    <a:schemeClr val="tx1"/>
                  </a:solidFill>
                </a:rPr>
                <a:t>Vertical distance: 0,25 cm</a:t>
              </a:r>
              <a:endParaRPr lang="en-US" sz="1050" cap="none" dirty="0">
                <a:solidFill>
                  <a:schemeClr val="tx1"/>
                </a:solidFill>
              </a:endParaRPr>
            </a:p>
          </p:txBody>
        </p:sp>
        <p:sp>
          <p:nvSpPr>
            <p:cNvPr id="256" name="Rechteck 123"/>
            <p:cNvSpPr/>
            <p:nvPr userDrawn="1"/>
          </p:nvSpPr>
          <p:spPr>
            <a:xfrm>
              <a:off x="7399338" y="3831910"/>
              <a:ext cx="180000" cy="9032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cap="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57" name="Mittelkreuz"/>
          <p:cNvGrpSpPr/>
          <p:nvPr userDrawn="1"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258" name="Mittellinie vertikal"/>
            <p:cNvCxnSpPr/>
            <p:nvPr userDrawn="1"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59" name="Mittellinie horizontal"/>
            <p:cNvCxnSpPr/>
            <p:nvPr userDrawn="1"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60" name="Rechteckige Legende 16"/>
            <p:cNvSpPr/>
            <p:nvPr userDrawn="1"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cap="none" dirty="0">
                  <a:solidFill>
                    <a:schemeClr val="tx1"/>
                  </a:solidFill>
                </a:rPr>
                <a:t>Distance</a:t>
              </a:r>
              <a:r>
                <a:rPr lang="en-US" sz="1050" cap="none" baseline="0" dirty="0">
                  <a:solidFill>
                    <a:schemeClr val="tx1"/>
                  </a:solidFill>
                </a:rPr>
                <a:t> of gridlines measured from center</a:t>
              </a:r>
              <a:endParaRPr lang="en-US" sz="1050" cap="none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26319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7654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0" orient="horz" pos="2160" userDrawn="1">
          <p15:clr>
            <a:srgbClr val="FBAE40"/>
          </p15:clr>
        </p15:guide>
        <p15:guide id="1" pos="2880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7" name="Textplatzhalter 1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174670"/>
      </p:ext>
    </p:extLst>
  </p:cSld>
  <p:clrMapOvr>
    <a:masterClrMapping/>
  </p:clrMapOvr>
  <p:hf hdr="0" ftr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red head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4106"/>
            <a:ext cx="9144000" cy="4056469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144000" cy="542925"/>
          </a:xfrm>
          <a:solidFill>
            <a:schemeClr val="tx2"/>
          </a:solidFill>
          <a:ln>
            <a:noFill/>
          </a:ln>
        </p:spPr>
        <p:txBody>
          <a:bodyPr vert="horz" lIns="108000" tIns="108000" rIns="108000" bIns="0" rtlCol="0" anchor="ctr" anchorCtr="0">
            <a:noAutofit/>
          </a:bodyPr>
          <a:lstStyle>
            <a:lvl1pPr>
              <a:defRPr lang="de-DE" sz="2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platzhalter 1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854216"/>
      </p:ext>
    </p:extLst>
  </p:cSld>
  <p:clrMapOvr>
    <a:masterClrMapping/>
  </p:clrMapOvr>
  <p:hf hdr="0" ftr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5934075" cy="4605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5938838" y="1"/>
            <a:ext cx="3204781" cy="22986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8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5938838" y="2304288"/>
            <a:ext cx="3204781" cy="230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3881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1622424"/>
            <a:ext cx="8560062" cy="452008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0" rIns="108000" bIns="0" rtlCol="0" anchor="ctr" anchorCtr="0">
            <a:noAutofit/>
          </a:bodyPr>
          <a:lstStyle>
            <a:lvl1pPr marL="176213" indent="-176213">
              <a:lnSpc>
                <a:spcPct val="100000"/>
              </a:lnSpc>
              <a:spcAft>
                <a:spcPts val="600"/>
              </a:spcAft>
              <a:buSzPct val="100000"/>
              <a:buFont typeface="Arial" panose="020B0604020202020204" pitchFamily="34" charset="0"/>
              <a:buChar char="&gt;"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lvl="0"/>
            <a:r>
              <a:rPr lang="en-US" dirty="0"/>
              <a:t>Insert text for disclaim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940DD-8E32-4B2F-B442-F236D5130E44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8700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1622424"/>
            <a:ext cx="8560062" cy="452008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0" rIns="108000" bIns="0" rtlCol="0" anchor="ctr" anchorCtr="0">
            <a:noAutofit/>
          </a:bodyPr>
          <a:lstStyle>
            <a:lvl1pPr marL="176213" indent="-176213">
              <a:lnSpc>
                <a:spcPct val="100000"/>
              </a:lnSpc>
              <a:spcAft>
                <a:spcPts val="600"/>
              </a:spcAft>
              <a:buSzPct val="100000"/>
              <a:buFont typeface="Arial" panose="020B0604020202020204" pitchFamily="34" charset="0"/>
              <a:buChar char="&gt;"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lvl="0"/>
            <a:r>
              <a:rPr lang="en-US" dirty="0"/>
              <a:t>Insert text for disclaim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940DD-8E32-4B2F-B442-F236D5130E44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8764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agenda/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D69A-4637-442F-95F4-2803350F1BCE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161925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925" y="1996440"/>
            <a:ext cx="8569325" cy="777240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sz="140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sub item or delete/rearrange text boxes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88925" y="281178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88925" y="3188970"/>
            <a:ext cx="8569325" cy="312038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marL="182563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>
                <a:tab pos="8428038" algn="r"/>
              </a:tabLst>
            </a:pPr>
            <a:r>
              <a:rPr lang="en-US" dirty="0"/>
              <a:t>Click to add sub item or delete/rearrange text boxes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88925" y="3543478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88925" y="3927003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4312557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88925" y="4689706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</p:spTree>
    <p:extLst>
      <p:ext uri="{BB962C8B-B14F-4D97-AF65-F5344CB8AC3E}">
        <p14:creationId xmlns:p14="http://schemas.microsoft.com/office/powerpoint/2010/main" val="6176015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600" y="2030400"/>
            <a:ext cx="5370411" cy="2002637"/>
          </a:xfrm>
        </p:spPr>
        <p:txBody>
          <a:bodyPr anchor="t"/>
          <a:lstStyle>
            <a:lvl1pPr algn="l">
              <a:lnSpc>
                <a:spcPct val="100000"/>
              </a:lnSpc>
              <a:defRPr sz="36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968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1151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1261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9984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438" y="2028825"/>
            <a:ext cx="3911600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0780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the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2900"/>
            <a:ext cx="9144000" cy="52390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9438" y="2028825"/>
            <a:ext cx="3902075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79437" y="495300"/>
            <a:ext cx="5864771" cy="542925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Insert contact data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4463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1600" y="1569600"/>
            <a:ext cx="8560062" cy="4572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5C2C-E9DE-45BD-A857-55AECF0C522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079319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/3 - red subtitle under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D5F1A-A1A0-46DE-AB45-63DA9AA4609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121400" y="1475259"/>
            <a:ext cx="2736850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91600" y="1475259"/>
            <a:ext cx="5654675" cy="57606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271462" indent="0">
              <a:buNone/>
              <a:defRPr>
                <a:solidFill>
                  <a:schemeClr val="tx2"/>
                </a:solidFill>
              </a:defRPr>
            </a:lvl2pPr>
            <a:lvl3pPr marL="442912" indent="0">
              <a:buNone/>
              <a:defRPr>
                <a:solidFill>
                  <a:schemeClr val="tx2"/>
                </a:solidFill>
              </a:defRPr>
            </a:lvl3pPr>
            <a:lvl4pPr marL="628650" indent="0">
              <a:buNone/>
              <a:defRPr>
                <a:solidFill>
                  <a:schemeClr val="tx2"/>
                </a:solidFill>
              </a:defRPr>
            </a:lvl4pPr>
            <a:lvl5pPr marL="814387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"/>
          </p:nvPr>
        </p:nvSpPr>
        <p:spPr>
          <a:xfrm>
            <a:off x="298518" y="2298700"/>
            <a:ext cx="5654675" cy="25915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1" name="Gerader Verbinder 6"/>
          <p:cNvCxnSpPr/>
          <p:nvPr/>
        </p:nvCxnSpPr>
        <p:spPr>
          <a:xfrm>
            <a:off x="288925" y="2109286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727539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8E848-4BA0-46DA-B7E3-A8DA2E7F24E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291600" y="1575950"/>
            <a:ext cx="4192588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60900" y="1572775"/>
            <a:ext cx="4197350" cy="4559738"/>
          </a:xfrm>
        </p:spPr>
        <p:txBody>
          <a:bodyPr vert="horz" lIns="0" tIns="0" rIns="0" bIns="0" rtlCol="0">
            <a:noAutofit/>
          </a:bodyPr>
          <a:lstStyle>
            <a:lvl1pPr>
              <a:defRPr lang="de-AT" dirty="0" smtClean="0"/>
            </a:lvl1pPr>
            <a:lvl2pPr>
              <a:defRPr lang="de-AT" dirty="0" smtClean="0"/>
            </a:lvl2pPr>
            <a:lvl3pPr>
              <a:defRPr lang="de-AT" dirty="0" smtClean="0"/>
            </a:lvl3pPr>
            <a:lvl4pPr>
              <a:defRPr lang="de-AT" dirty="0" smtClean="0"/>
            </a:lvl4pPr>
            <a:lvl5pPr>
              <a:defRPr lang="de-AT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55920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2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4192488" cy="4563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310B4-A1C2-4B60-B54E-E4BD04F93B7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659313" y="1627201"/>
            <a:ext cx="4187825" cy="220502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659313" y="3919789"/>
            <a:ext cx="4187825" cy="22206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05217919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7"/>
            <a:ext cx="5641875" cy="45569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B6EAA-2E8F-4E61-AFDE-41C2065B938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21400" y="1627200"/>
            <a:ext cx="2738438" cy="22256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21400" y="3922713"/>
            <a:ext cx="2738438" cy="22259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7719997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agenda/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D69A-4637-442F-95F4-2803350F1BCE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161925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925" y="1996440"/>
            <a:ext cx="8569325" cy="777240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sz="140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sub item or delete/rearrange text boxes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88925" y="281178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88925" y="3188970"/>
            <a:ext cx="8569325" cy="312038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marL="182563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>
                <a:tab pos="8428038" algn="r"/>
              </a:tabLst>
            </a:pPr>
            <a:r>
              <a:rPr lang="en-US" dirty="0"/>
              <a:t>Click to add sub item or delete/rearrange text boxes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88925" y="3543478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88925" y="3927003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4312557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88925" y="4689706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</p:spTree>
    <p:extLst>
      <p:ext uri="{BB962C8B-B14F-4D97-AF65-F5344CB8AC3E}">
        <p14:creationId xmlns:p14="http://schemas.microsoft.com/office/powerpoint/2010/main" val="31534567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2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1" y="1575715"/>
            <a:ext cx="5648824" cy="455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DF1FA-ABD1-40D0-8304-86742E155357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6121400" y="2298700"/>
            <a:ext cx="2747963" cy="3070226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aseline="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206725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48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2C38B2-42F4-449C-91A0-4D87B86BED1D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8" hasCustomPrompt="1"/>
          </p:nvPr>
        </p:nvSpPr>
        <p:spPr>
          <a:xfrm>
            <a:off x="3205163" y="1619250"/>
            <a:ext cx="5662052" cy="4514850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ts val="225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98512909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3 - 1 objec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E9BE2-A349-480E-9FA8-1B0465CE62E4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3209124" y="2298700"/>
            <a:ext cx="5649126" cy="350656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3203575" y="1627694"/>
            <a:ext cx="5654675" cy="526226"/>
          </a:xfrm>
          <a:solidFill>
            <a:schemeClr val="bg2"/>
          </a:solidFill>
        </p:spPr>
        <p:txBody>
          <a:bodyPr lIns="7200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2pPr>
            <a:lvl3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3pPr>
            <a:lvl4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4pPr>
            <a:lvl5pPr marL="0" indent="0">
              <a:lnSpc>
                <a:spcPts val="16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77156"/>
            <a:ext cx="2736851" cy="4569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813179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- 2 objects -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6121400" y="1627694"/>
            <a:ext cx="27368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4077073"/>
            <a:ext cx="8559700" cy="20633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20202-3F96-4633-97D4-EB6488CD0176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6121400" y="2298700"/>
            <a:ext cx="2736850" cy="1532351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291600" y="1627200"/>
            <a:ext cx="5651500" cy="22114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</p:spTree>
    <p:extLst>
      <p:ext uri="{BB962C8B-B14F-4D97-AF65-F5344CB8AC3E}">
        <p14:creationId xmlns:p14="http://schemas.microsoft.com/office/powerpoint/2010/main" val="158552362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291600" y="1586975"/>
            <a:ext cx="4192488" cy="2245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F93E9-6D02-4271-9DE5-4C5F23ED8FD8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3919540"/>
            <a:ext cx="4187825" cy="220662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270509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/content 4 - 1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88925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664138" y="1631570"/>
            <a:ext cx="4192588" cy="2207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5"/>
          </p:nvPr>
        </p:nvSpPr>
        <p:spPr>
          <a:xfrm>
            <a:off x="288925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6"/>
          </p:nvPr>
        </p:nvSpPr>
        <p:spPr>
          <a:xfrm>
            <a:off x="4664138" y="3920744"/>
            <a:ext cx="4192588" cy="2208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166393"/>
      </p:ext>
    </p:extLst>
  </p:cSld>
  <p:clrMapOvr>
    <a:masterClrMapping/>
  </p:clrMapOvr>
  <p:hf hdr="0" ft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-text 1/4 - 1 pic &amp; 2 objects - all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842FC-4472-4057-BF49-491306FF850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20" hasCustomPrompt="1"/>
          </p:nvPr>
        </p:nvSpPr>
        <p:spPr>
          <a:xfrm>
            <a:off x="4660900" y="4605338"/>
            <a:ext cx="4186236" cy="1528762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660900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91600" y="4605338"/>
            <a:ext cx="4187825" cy="152082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4"/>
          </p:nvPr>
        </p:nvSpPr>
        <p:spPr>
          <a:xfrm>
            <a:off x="290068" y="392588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8" hasCustomPrompt="1"/>
          </p:nvPr>
        </p:nvSpPr>
        <p:spPr>
          <a:xfrm>
            <a:off x="4660900" y="2298700"/>
            <a:ext cx="4186236" cy="152876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7694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288521" y="162451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292100" y="2298700"/>
            <a:ext cx="4195763" cy="15287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600"/>
            </a:lvl1pPr>
            <a:lvl2pPr marL="361950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2pPr>
            <a:lvl3pPr marL="534988" indent="-173038">
              <a:lnSpc>
                <a:spcPct val="100000"/>
              </a:lnSpc>
              <a:spcBef>
                <a:spcPts val="600"/>
              </a:spcBef>
              <a:spcAft>
                <a:spcPts val="567"/>
              </a:spcAft>
              <a:buFont typeface="Wingdings" panose="05000000000000000000" pitchFamily="2" charset="2"/>
              <a:buChar char="§"/>
              <a:defRPr/>
            </a:lvl3pPr>
            <a:lvl4pPr marL="715963" indent="-180975">
              <a:buFont typeface="Wingdings" panose="05000000000000000000" pitchFamily="2" charset="2"/>
              <a:buChar char="§"/>
              <a:defRPr/>
            </a:lvl4pPr>
            <a:lvl5pPr marL="896938" indent="-180975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7896891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 1/1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E93F2-6651-4DAF-8D5B-5B67F320C31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2298701"/>
            <a:ext cx="8560062" cy="350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None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4950" y="5840561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4519"/>
            <a:ext cx="8568408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431657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-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noProof="0" dirty="0"/>
              <a:t>Click on icon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24274043"/>
      </p:ext>
    </p:extLst>
  </p:cSld>
  <p:clrMapOvr>
    <a:masterClrMapping/>
  </p:clrMapOvr>
  <p:hf hdr="0" ft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ictures 8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622425"/>
            <a:ext cx="1998000" cy="185380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0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86306" y="1622425"/>
            <a:ext cx="1998000" cy="185380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41" hasCustomPrompt="1"/>
          </p:nvPr>
        </p:nvSpPr>
        <p:spPr>
          <a:xfrm>
            <a:off x="290390" y="3919761"/>
            <a:ext cx="1998000" cy="18689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4" name="Bildplatzhalter 9"/>
          <p:cNvSpPr>
            <a:spLocks noGrp="1"/>
          </p:cNvSpPr>
          <p:nvPr>
            <p:ph type="pic" sz="quarter" idx="42" hasCustomPrompt="1"/>
          </p:nvPr>
        </p:nvSpPr>
        <p:spPr>
          <a:xfrm>
            <a:off x="6858553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4669268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2486306" y="3919761"/>
            <a:ext cx="1998000" cy="186891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9390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platzhalter 12"/>
          <p:cNvSpPr>
            <a:spLocks noGrp="1"/>
          </p:cNvSpPr>
          <p:nvPr>
            <p:ph type="body" sz="quarter" idx="45"/>
          </p:nvPr>
        </p:nvSpPr>
        <p:spPr>
          <a:xfrm>
            <a:off x="2498484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46"/>
          </p:nvPr>
        </p:nvSpPr>
        <p:spPr>
          <a:xfrm>
            <a:off x="4674908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47"/>
          </p:nvPr>
        </p:nvSpPr>
        <p:spPr>
          <a:xfrm>
            <a:off x="6881559" y="3573016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48"/>
          </p:nvPr>
        </p:nvSpPr>
        <p:spPr>
          <a:xfrm>
            <a:off x="299390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49"/>
          </p:nvPr>
        </p:nvSpPr>
        <p:spPr>
          <a:xfrm>
            <a:off x="2498484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50"/>
          </p:nvPr>
        </p:nvSpPr>
        <p:spPr>
          <a:xfrm>
            <a:off x="4674908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51"/>
          </p:nvPr>
        </p:nvSpPr>
        <p:spPr>
          <a:xfrm>
            <a:off x="6881559" y="5875867"/>
            <a:ext cx="1980000" cy="259209"/>
          </a:xfrm>
          <a:noFill/>
          <a:ln>
            <a:noFill/>
          </a:ln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100" baseline="0">
                <a:solidFill>
                  <a:schemeClr val="tx1"/>
                </a:solidFill>
              </a:defRPr>
            </a:lvl1pPr>
            <a:lvl2pPr marL="180975" indent="-177800">
              <a:lnSpc>
                <a:spcPts val="16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&gt;"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6838739"/>
      </p:ext>
    </p:extLst>
  </p:cSld>
  <p:clrMapOvr>
    <a:masterClrMapping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600" y="2030400"/>
            <a:ext cx="5370411" cy="2002637"/>
          </a:xfrm>
        </p:spPr>
        <p:txBody>
          <a:bodyPr anchor="t"/>
          <a:lstStyle>
            <a:lvl1pPr algn="l">
              <a:lnSpc>
                <a:spcPct val="100000"/>
              </a:lnSpc>
              <a:defRPr sz="36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968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1151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1261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93969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bjects 2 - 1/2 -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922F0-A202-4EA4-BC9B-1A86C5B7069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91600" y="2292853"/>
            <a:ext cx="4189913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7" hasCustomPrompt="1"/>
          </p:nvPr>
        </p:nvSpPr>
        <p:spPr>
          <a:xfrm>
            <a:off x="4664394" y="2292853"/>
            <a:ext cx="4186236" cy="349444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 dirty="0"/>
              <a:t>Insert object (chart etc.)</a:t>
            </a:r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34490"/>
            <a:ext cx="0" cy="4161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22138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cxnSp>
        <p:nvCxnSpPr>
          <p:cNvPr id="13" name="Gerader Verbinder 6"/>
          <p:cNvCxnSpPr/>
          <p:nvPr/>
        </p:nvCxnSpPr>
        <p:spPr>
          <a:xfrm>
            <a:off x="4572000" y="1622138"/>
            <a:ext cx="0" cy="44996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76581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press clippings 2 -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9" hasCustomPrompt="1"/>
          </p:nvPr>
        </p:nvSpPr>
        <p:spPr>
          <a:xfrm>
            <a:off x="291600" y="2289908"/>
            <a:ext cx="4194969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BBC96-FF81-41A2-A288-3AD332C2BB50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Gerader Verbinder 6"/>
          <p:cNvCxnSpPr/>
          <p:nvPr/>
        </p:nvCxnSpPr>
        <p:spPr>
          <a:xfrm>
            <a:off x="4572000" y="1615281"/>
            <a:ext cx="0" cy="4192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Bildplatzhalter 11"/>
          <p:cNvSpPr>
            <a:spLocks noGrp="1"/>
          </p:cNvSpPr>
          <p:nvPr>
            <p:ph type="pic" sz="quarter" idx="20" hasCustomPrompt="1"/>
          </p:nvPr>
        </p:nvSpPr>
        <p:spPr>
          <a:xfrm>
            <a:off x="4660900" y="2289908"/>
            <a:ext cx="4202113" cy="2923037"/>
          </a:xfrm>
          <a:custGeom>
            <a:avLst/>
            <a:gdLst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0 w 4216400"/>
              <a:gd name="connsiteY3" fmla="*/ 2923037 h 2923037"/>
              <a:gd name="connsiteX4" fmla="*/ 0 w 4216400"/>
              <a:gd name="connsiteY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9225 w 4216400"/>
              <a:gd name="connsiteY3" fmla="*/ 2922588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750 w 4216400"/>
              <a:gd name="connsiteY3" fmla="*/ 2879725 h 2923037"/>
              <a:gd name="connsiteX4" fmla="*/ 0 w 4216400"/>
              <a:gd name="connsiteY4" fmla="*/ 2923037 h 2923037"/>
              <a:gd name="connsiteX5" fmla="*/ 0 w 4216400"/>
              <a:gd name="connsiteY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4475 w 4216400"/>
              <a:gd name="connsiteY3" fmla="*/ 2879725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6375 w 4216400"/>
              <a:gd name="connsiteY3" fmla="*/ 2817812 h 2923037"/>
              <a:gd name="connsiteX4" fmla="*/ 158750 w 4216400"/>
              <a:gd name="connsiteY4" fmla="*/ 2879725 h 2923037"/>
              <a:gd name="connsiteX5" fmla="*/ 0 w 4216400"/>
              <a:gd name="connsiteY5" fmla="*/ 2923037 h 2923037"/>
              <a:gd name="connsiteX6" fmla="*/ 0 w 4216400"/>
              <a:gd name="connsiteY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17813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8775 w 4216400"/>
              <a:gd name="connsiteY3" fmla="*/ 2870201 h 2923037"/>
              <a:gd name="connsiteX4" fmla="*/ 206375 w 4216400"/>
              <a:gd name="connsiteY4" fmla="*/ 2817812 h 2923037"/>
              <a:gd name="connsiteX5" fmla="*/ 158750 w 4216400"/>
              <a:gd name="connsiteY5" fmla="*/ 2879725 h 2923037"/>
              <a:gd name="connsiteX6" fmla="*/ 0 w 4216400"/>
              <a:gd name="connsiteY6" fmla="*/ 2923037 h 2923037"/>
              <a:gd name="connsiteX7" fmla="*/ 0 w 4216400"/>
              <a:gd name="connsiteY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606425 w 4216400"/>
              <a:gd name="connsiteY3" fmla="*/ 2874963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596900 w 4216400"/>
              <a:gd name="connsiteY3" fmla="*/ 2813051 h 2923037"/>
              <a:gd name="connsiteX4" fmla="*/ 358775 w 4216400"/>
              <a:gd name="connsiteY4" fmla="*/ 2870201 h 2923037"/>
              <a:gd name="connsiteX5" fmla="*/ 206375 w 4216400"/>
              <a:gd name="connsiteY5" fmla="*/ 2817812 h 2923037"/>
              <a:gd name="connsiteX6" fmla="*/ 158750 w 4216400"/>
              <a:gd name="connsiteY6" fmla="*/ 2879725 h 2923037"/>
              <a:gd name="connsiteX7" fmla="*/ 0 w 4216400"/>
              <a:gd name="connsiteY7" fmla="*/ 2923037 h 2923037"/>
              <a:gd name="connsiteX8" fmla="*/ 0 w 4216400"/>
              <a:gd name="connsiteY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73150 w 4216400"/>
              <a:gd name="connsiteY3" fmla="*/ 2827338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049338 w 4216400"/>
              <a:gd name="connsiteY3" fmla="*/ 2803525 h 2923037"/>
              <a:gd name="connsiteX4" fmla="*/ 596900 w 4216400"/>
              <a:gd name="connsiteY4" fmla="*/ 2813051 h 2923037"/>
              <a:gd name="connsiteX5" fmla="*/ 358775 w 4216400"/>
              <a:gd name="connsiteY5" fmla="*/ 2870201 h 2923037"/>
              <a:gd name="connsiteX6" fmla="*/ 206375 w 4216400"/>
              <a:gd name="connsiteY6" fmla="*/ 2817812 h 2923037"/>
              <a:gd name="connsiteX7" fmla="*/ 158750 w 4216400"/>
              <a:gd name="connsiteY7" fmla="*/ 2879725 h 2923037"/>
              <a:gd name="connsiteX8" fmla="*/ 0 w 4216400"/>
              <a:gd name="connsiteY8" fmla="*/ 2923037 h 2923037"/>
              <a:gd name="connsiteX9" fmla="*/ 0 w 4216400"/>
              <a:gd name="connsiteY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425575 w 4216400"/>
              <a:gd name="connsiteY3" fmla="*/ 281781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387475 w 4216400"/>
              <a:gd name="connsiteY3" fmla="*/ 2532063 h 2923037"/>
              <a:gd name="connsiteX4" fmla="*/ 1049338 w 4216400"/>
              <a:gd name="connsiteY4" fmla="*/ 2803525 h 2923037"/>
              <a:gd name="connsiteX5" fmla="*/ 596900 w 4216400"/>
              <a:gd name="connsiteY5" fmla="*/ 2813051 h 2923037"/>
              <a:gd name="connsiteX6" fmla="*/ 358775 w 4216400"/>
              <a:gd name="connsiteY6" fmla="*/ 2870201 h 2923037"/>
              <a:gd name="connsiteX7" fmla="*/ 206375 w 4216400"/>
              <a:gd name="connsiteY7" fmla="*/ 2817812 h 2923037"/>
              <a:gd name="connsiteX8" fmla="*/ 158750 w 4216400"/>
              <a:gd name="connsiteY8" fmla="*/ 2879725 h 2923037"/>
              <a:gd name="connsiteX9" fmla="*/ 0 w 4216400"/>
              <a:gd name="connsiteY9" fmla="*/ 2923037 h 2923037"/>
              <a:gd name="connsiteX10" fmla="*/ 0 w 4216400"/>
              <a:gd name="connsiteY1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82738 w 4216400"/>
              <a:gd name="connsiteY3" fmla="*/ 2555875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577976 w 4216400"/>
              <a:gd name="connsiteY3" fmla="*/ 2527300 h 2923037"/>
              <a:gd name="connsiteX4" fmla="*/ 1387475 w 4216400"/>
              <a:gd name="connsiteY4" fmla="*/ 2532063 h 2923037"/>
              <a:gd name="connsiteX5" fmla="*/ 1049338 w 4216400"/>
              <a:gd name="connsiteY5" fmla="*/ 2803525 h 2923037"/>
              <a:gd name="connsiteX6" fmla="*/ 596900 w 4216400"/>
              <a:gd name="connsiteY6" fmla="*/ 2813051 h 2923037"/>
              <a:gd name="connsiteX7" fmla="*/ 358775 w 4216400"/>
              <a:gd name="connsiteY7" fmla="*/ 2870201 h 2923037"/>
              <a:gd name="connsiteX8" fmla="*/ 206375 w 4216400"/>
              <a:gd name="connsiteY8" fmla="*/ 2817812 h 2923037"/>
              <a:gd name="connsiteX9" fmla="*/ 158750 w 4216400"/>
              <a:gd name="connsiteY9" fmla="*/ 2879725 h 2923037"/>
              <a:gd name="connsiteX10" fmla="*/ 0 w 4216400"/>
              <a:gd name="connsiteY10" fmla="*/ 2923037 h 2923037"/>
              <a:gd name="connsiteX11" fmla="*/ 0 w 4216400"/>
              <a:gd name="connsiteY1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97038 w 4216400"/>
              <a:gd name="connsiteY3" fmla="*/ 2546350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663701 w 4216400"/>
              <a:gd name="connsiteY3" fmla="*/ 2422525 h 2923037"/>
              <a:gd name="connsiteX4" fmla="*/ 1577976 w 4216400"/>
              <a:gd name="connsiteY4" fmla="*/ 2527300 h 2923037"/>
              <a:gd name="connsiteX5" fmla="*/ 1387475 w 4216400"/>
              <a:gd name="connsiteY5" fmla="*/ 2532063 h 2923037"/>
              <a:gd name="connsiteX6" fmla="*/ 1049338 w 4216400"/>
              <a:gd name="connsiteY6" fmla="*/ 2803525 h 2923037"/>
              <a:gd name="connsiteX7" fmla="*/ 596900 w 4216400"/>
              <a:gd name="connsiteY7" fmla="*/ 2813051 h 2923037"/>
              <a:gd name="connsiteX8" fmla="*/ 358775 w 4216400"/>
              <a:gd name="connsiteY8" fmla="*/ 2870201 h 2923037"/>
              <a:gd name="connsiteX9" fmla="*/ 206375 w 4216400"/>
              <a:gd name="connsiteY9" fmla="*/ 2817812 h 2923037"/>
              <a:gd name="connsiteX10" fmla="*/ 158750 w 4216400"/>
              <a:gd name="connsiteY10" fmla="*/ 2879725 h 2923037"/>
              <a:gd name="connsiteX11" fmla="*/ 0 w 4216400"/>
              <a:gd name="connsiteY11" fmla="*/ 2923037 h 2923037"/>
              <a:gd name="connsiteX12" fmla="*/ 0 w 4216400"/>
              <a:gd name="connsiteY1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92288 w 4216400"/>
              <a:gd name="connsiteY3" fmla="*/ 2446338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787526 w 4216400"/>
              <a:gd name="connsiteY3" fmla="*/ 2374900 h 2923037"/>
              <a:gd name="connsiteX4" fmla="*/ 1663701 w 4216400"/>
              <a:gd name="connsiteY4" fmla="*/ 2422525 h 2923037"/>
              <a:gd name="connsiteX5" fmla="*/ 1577976 w 4216400"/>
              <a:gd name="connsiteY5" fmla="*/ 2527300 h 2923037"/>
              <a:gd name="connsiteX6" fmla="*/ 1387475 w 4216400"/>
              <a:gd name="connsiteY6" fmla="*/ 2532063 h 2923037"/>
              <a:gd name="connsiteX7" fmla="*/ 1049338 w 4216400"/>
              <a:gd name="connsiteY7" fmla="*/ 2803525 h 2923037"/>
              <a:gd name="connsiteX8" fmla="*/ 596900 w 4216400"/>
              <a:gd name="connsiteY8" fmla="*/ 2813051 h 2923037"/>
              <a:gd name="connsiteX9" fmla="*/ 358775 w 4216400"/>
              <a:gd name="connsiteY9" fmla="*/ 2870201 h 2923037"/>
              <a:gd name="connsiteX10" fmla="*/ 206375 w 4216400"/>
              <a:gd name="connsiteY10" fmla="*/ 2817812 h 2923037"/>
              <a:gd name="connsiteX11" fmla="*/ 158750 w 4216400"/>
              <a:gd name="connsiteY11" fmla="*/ 2879725 h 2923037"/>
              <a:gd name="connsiteX12" fmla="*/ 0 w 4216400"/>
              <a:gd name="connsiteY12" fmla="*/ 2923037 h 2923037"/>
              <a:gd name="connsiteX13" fmla="*/ 0 w 4216400"/>
              <a:gd name="connsiteY1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006600 w 4216400"/>
              <a:gd name="connsiteY3" fmla="*/ 2427288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1997075 w 4216400"/>
              <a:gd name="connsiteY3" fmla="*/ 2436813 h 2923037"/>
              <a:gd name="connsiteX4" fmla="*/ 1787526 w 4216400"/>
              <a:gd name="connsiteY4" fmla="*/ 2374900 h 2923037"/>
              <a:gd name="connsiteX5" fmla="*/ 1663701 w 4216400"/>
              <a:gd name="connsiteY5" fmla="*/ 2422525 h 2923037"/>
              <a:gd name="connsiteX6" fmla="*/ 1577976 w 4216400"/>
              <a:gd name="connsiteY6" fmla="*/ 2527300 h 2923037"/>
              <a:gd name="connsiteX7" fmla="*/ 1387475 w 4216400"/>
              <a:gd name="connsiteY7" fmla="*/ 2532063 h 2923037"/>
              <a:gd name="connsiteX8" fmla="*/ 1049338 w 4216400"/>
              <a:gd name="connsiteY8" fmla="*/ 2803525 h 2923037"/>
              <a:gd name="connsiteX9" fmla="*/ 596900 w 4216400"/>
              <a:gd name="connsiteY9" fmla="*/ 2813051 h 2923037"/>
              <a:gd name="connsiteX10" fmla="*/ 358775 w 4216400"/>
              <a:gd name="connsiteY10" fmla="*/ 2870201 h 2923037"/>
              <a:gd name="connsiteX11" fmla="*/ 206375 w 4216400"/>
              <a:gd name="connsiteY11" fmla="*/ 2817812 h 2923037"/>
              <a:gd name="connsiteX12" fmla="*/ 158750 w 4216400"/>
              <a:gd name="connsiteY12" fmla="*/ 2879725 h 2923037"/>
              <a:gd name="connsiteX13" fmla="*/ 0 w 4216400"/>
              <a:gd name="connsiteY13" fmla="*/ 2923037 h 2923037"/>
              <a:gd name="connsiteX14" fmla="*/ 0 w 4216400"/>
              <a:gd name="connsiteY1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8525 w 4216400"/>
              <a:gd name="connsiteY3" fmla="*/ 2474913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163762 w 4216400"/>
              <a:gd name="connsiteY3" fmla="*/ 2365375 h 2923037"/>
              <a:gd name="connsiteX4" fmla="*/ 1997075 w 4216400"/>
              <a:gd name="connsiteY4" fmla="*/ 2436813 h 2923037"/>
              <a:gd name="connsiteX5" fmla="*/ 1787526 w 4216400"/>
              <a:gd name="connsiteY5" fmla="*/ 2374900 h 2923037"/>
              <a:gd name="connsiteX6" fmla="*/ 1663701 w 4216400"/>
              <a:gd name="connsiteY6" fmla="*/ 2422525 h 2923037"/>
              <a:gd name="connsiteX7" fmla="*/ 1577976 w 4216400"/>
              <a:gd name="connsiteY7" fmla="*/ 2527300 h 2923037"/>
              <a:gd name="connsiteX8" fmla="*/ 1387475 w 4216400"/>
              <a:gd name="connsiteY8" fmla="*/ 2532063 h 2923037"/>
              <a:gd name="connsiteX9" fmla="*/ 1049338 w 4216400"/>
              <a:gd name="connsiteY9" fmla="*/ 2803525 h 2923037"/>
              <a:gd name="connsiteX10" fmla="*/ 596900 w 4216400"/>
              <a:gd name="connsiteY10" fmla="*/ 2813051 h 2923037"/>
              <a:gd name="connsiteX11" fmla="*/ 358775 w 4216400"/>
              <a:gd name="connsiteY11" fmla="*/ 2870201 h 2923037"/>
              <a:gd name="connsiteX12" fmla="*/ 206375 w 4216400"/>
              <a:gd name="connsiteY12" fmla="*/ 2817812 h 2923037"/>
              <a:gd name="connsiteX13" fmla="*/ 158750 w 4216400"/>
              <a:gd name="connsiteY13" fmla="*/ 2879725 h 2923037"/>
              <a:gd name="connsiteX14" fmla="*/ 0 w 4216400"/>
              <a:gd name="connsiteY14" fmla="*/ 2923037 h 2923037"/>
              <a:gd name="connsiteX15" fmla="*/ 0 w 4216400"/>
              <a:gd name="connsiteY1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49488 w 4216400"/>
              <a:gd name="connsiteY3" fmla="*/ 238918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225676 w 4216400"/>
              <a:gd name="connsiteY3" fmla="*/ 2293938 h 2923037"/>
              <a:gd name="connsiteX4" fmla="*/ 2163762 w 4216400"/>
              <a:gd name="connsiteY4" fmla="*/ 2365375 h 2923037"/>
              <a:gd name="connsiteX5" fmla="*/ 1997075 w 4216400"/>
              <a:gd name="connsiteY5" fmla="*/ 2436813 h 2923037"/>
              <a:gd name="connsiteX6" fmla="*/ 1787526 w 4216400"/>
              <a:gd name="connsiteY6" fmla="*/ 2374900 h 2923037"/>
              <a:gd name="connsiteX7" fmla="*/ 1663701 w 4216400"/>
              <a:gd name="connsiteY7" fmla="*/ 2422525 h 2923037"/>
              <a:gd name="connsiteX8" fmla="*/ 1577976 w 4216400"/>
              <a:gd name="connsiteY8" fmla="*/ 2527300 h 2923037"/>
              <a:gd name="connsiteX9" fmla="*/ 1387475 w 4216400"/>
              <a:gd name="connsiteY9" fmla="*/ 2532063 h 2923037"/>
              <a:gd name="connsiteX10" fmla="*/ 1049338 w 4216400"/>
              <a:gd name="connsiteY10" fmla="*/ 2803525 h 2923037"/>
              <a:gd name="connsiteX11" fmla="*/ 596900 w 4216400"/>
              <a:gd name="connsiteY11" fmla="*/ 2813051 h 2923037"/>
              <a:gd name="connsiteX12" fmla="*/ 358775 w 4216400"/>
              <a:gd name="connsiteY12" fmla="*/ 2870201 h 2923037"/>
              <a:gd name="connsiteX13" fmla="*/ 206375 w 4216400"/>
              <a:gd name="connsiteY13" fmla="*/ 2817812 h 2923037"/>
              <a:gd name="connsiteX14" fmla="*/ 158750 w 4216400"/>
              <a:gd name="connsiteY14" fmla="*/ 2879725 h 2923037"/>
              <a:gd name="connsiteX15" fmla="*/ 0 w 4216400"/>
              <a:gd name="connsiteY15" fmla="*/ 2923037 h 2923037"/>
              <a:gd name="connsiteX16" fmla="*/ 0 w 4216400"/>
              <a:gd name="connsiteY1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3325 w 4216400"/>
              <a:gd name="connsiteY3" fmla="*/ 2370138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478087 w 4216400"/>
              <a:gd name="connsiteY3" fmla="*/ 2474913 h 2923037"/>
              <a:gd name="connsiteX4" fmla="*/ 2225676 w 4216400"/>
              <a:gd name="connsiteY4" fmla="*/ 2293938 h 2923037"/>
              <a:gd name="connsiteX5" fmla="*/ 2163762 w 4216400"/>
              <a:gd name="connsiteY5" fmla="*/ 2365375 h 2923037"/>
              <a:gd name="connsiteX6" fmla="*/ 1997075 w 4216400"/>
              <a:gd name="connsiteY6" fmla="*/ 2436813 h 2923037"/>
              <a:gd name="connsiteX7" fmla="*/ 1787526 w 4216400"/>
              <a:gd name="connsiteY7" fmla="*/ 2374900 h 2923037"/>
              <a:gd name="connsiteX8" fmla="*/ 1663701 w 4216400"/>
              <a:gd name="connsiteY8" fmla="*/ 2422525 h 2923037"/>
              <a:gd name="connsiteX9" fmla="*/ 1577976 w 4216400"/>
              <a:gd name="connsiteY9" fmla="*/ 2527300 h 2923037"/>
              <a:gd name="connsiteX10" fmla="*/ 1387475 w 4216400"/>
              <a:gd name="connsiteY10" fmla="*/ 2532063 h 2923037"/>
              <a:gd name="connsiteX11" fmla="*/ 1049338 w 4216400"/>
              <a:gd name="connsiteY11" fmla="*/ 2803525 h 2923037"/>
              <a:gd name="connsiteX12" fmla="*/ 596900 w 4216400"/>
              <a:gd name="connsiteY12" fmla="*/ 2813051 h 2923037"/>
              <a:gd name="connsiteX13" fmla="*/ 358775 w 4216400"/>
              <a:gd name="connsiteY13" fmla="*/ 2870201 h 2923037"/>
              <a:gd name="connsiteX14" fmla="*/ 206375 w 4216400"/>
              <a:gd name="connsiteY14" fmla="*/ 2817812 h 2923037"/>
              <a:gd name="connsiteX15" fmla="*/ 158750 w 4216400"/>
              <a:gd name="connsiteY15" fmla="*/ 2879725 h 2923037"/>
              <a:gd name="connsiteX16" fmla="*/ 0 w 4216400"/>
              <a:gd name="connsiteY16" fmla="*/ 2923037 h 2923037"/>
              <a:gd name="connsiteX17" fmla="*/ 0 w 4216400"/>
              <a:gd name="connsiteY1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30488 w 4216400"/>
              <a:gd name="connsiteY3" fmla="*/ 2508250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654300 w 4216400"/>
              <a:gd name="connsiteY3" fmla="*/ 2322512 h 2923037"/>
              <a:gd name="connsiteX4" fmla="*/ 2478087 w 4216400"/>
              <a:gd name="connsiteY4" fmla="*/ 2474913 h 2923037"/>
              <a:gd name="connsiteX5" fmla="*/ 2225676 w 4216400"/>
              <a:gd name="connsiteY5" fmla="*/ 2293938 h 2923037"/>
              <a:gd name="connsiteX6" fmla="*/ 2163762 w 4216400"/>
              <a:gd name="connsiteY6" fmla="*/ 2365375 h 2923037"/>
              <a:gd name="connsiteX7" fmla="*/ 1997075 w 4216400"/>
              <a:gd name="connsiteY7" fmla="*/ 2436813 h 2923037"/>
              <a:gd name="connsiteX8" fmla="*/ 1787526 w 4216400"/>
              <a:gd name="connsiteY8" fmla="*/ 2374900 h 2923037"/>
              <a:gd name="connsiteX9" fmla="*/ 1663701 w 4216400"/>
              <a:gd name="connsiteY9" fmla="*/ 2422525 h 2923037"/>
              <a:gd name="connsiteX10" fmla="*/ 1577976 w 4216400"/>
              <a:gd name="connsiteY10" fmla="*/ 2527300 h 2923037"/>
              <a:gd name="connsiteX11" fmla="*/ 1387475 w 4216400"/>
              <a:gd name="connsiteY11" fmla="*/ 2532063 h 2923037"/>
              <a:gd name="connsiteX12" fmla="*/ 1049338 w 4216400"/>
              <a:gd name="connsiteY12" fmla="*/ 2803525 h 2923037"/>
              <a:gd name="connsiteX13" fmla="*/ 596900 w 4216400"/>
              <a:gd name="connsiteY13" fmla="*/ 2813051 h 2923037"/>
              <a:gd name="connsiteX14" fmla="*/ 358775 w 4216400"/>
              <a:gd name="connsiteY14" fmla="*/ 2870201 h 2923037"/>
              <a:gd name="connsiteX15" fmla="*/ 206375 w 4216400"/>
              <a:gd name="connsiteY15" fmla="*/ 2817812 h 2923037"/>
              <a:gd name="connsiteX16" fmla="*/ 158750 w 4216400"/>
              <a:gd name="connsiteY16" fmla="*/ 2879725 h 2923037"/>
              <a:gd name="connsiteX17" fmla="*/ 0 w 4216400"/>
              <a:gd name="connsiteY17" fmla="*/ 2923037 h 2923037"/>
              <a:gd name="connsiteX18" fmla="*/ 0 w 4216400"/>
              <a:gd name="connsiteY18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59075 w 4216400"/>
              <a:gd name="connsiteY3" fmla="*/ 23558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720975 w 4216400"/>
              <a:gd name="connsiteY3" fmla="*/ 2432050 h 2923037"/>
              <a:gd name="connsiteX4" fmla="*/ 2654300 w 4216400"/>
              <a:gd name="connsiteY4" fmla="*/ 2322512 h 2923037"/>
              <a:gd name="connsiteX5" fmla="*/ 2478087 w 4216400"/>
              <a:gd name="connsiteY5" fmla="*/ 2474913 h 2923037"/>
              <a:gd name="connsiteX6" fmla="*/ 2225676 w 4216400"/>
              <a:gd name="connsiteY6" fmla="*/ 2293938 h 2923037"/>
              <a:gd name="connsiteX7" fmla="*/ 2163762 w 4216400"/>
              <a:gd name="connsiteY7" fmla="*/ 2365375 h 2923037"/>
              <a:gd name="connsiteX8" fmla="*/ 1997075 w 4216400"/>
              <a:gd name="connsiteY8" fmla="*/ 2436813 h 2923037"/>
              <a:gd name="connsiteX9" fmla="*/ 1787526 w 4216400"/>
              <a:gd name="connsiteY9" fmla="*/ 2374900 h 2923037"/>
              <a:gd name="connsiteX10" fmla="*/ 1663701 w 4216400"/>
              <a:gd name="connsiteY10" fmla="*/ 2422525 h 2923037"/>
              <a:gd name="connsiteX11" fmla="*/ 1577976 w 4216400"/>
              <a:gd name="connsiteY11" fmla="*/ 2527300 h 2923037"/>
              <a:gd name="connsiteX12" fmla="*/ 1387475 w 4216400"/>
              <a:gd name="connsiteY12" fmla="*/ 2532063 h 2923037"/>
              <a:gd name="connsiteX13" fmla="*/ 1049338 w 4216400"/>
              <a:gd name="connsiteY13" fmla="*/ 2803525 h 2923037"/>
              <a:gd name="connsiteX14" fmla="*/ 596900 w 4216400"/>
              <a:gd name="connsiteY14" fmla="*/ 2813051 h 2923037"/>
              <a:gd name="connsiteX15" fmla="*/ 358775 w 4216400"/>
              <a:gd name="connsiteY15" fmla="*/ 2870201 h 2923037"/>
              <a:gd name="connsiteX16" fmla="*/ 206375 w 4216400"/>
              <a:gd name="connsiteY16" fmla="*/ 2817812 h 2923037"/>
              <a:gd name="connsiteX17" fmla="*/ 158750 w 4216400"/>
              <a:gd name="connsiteY17" fmla="*/ 2879725 h 2923037"/>
              <a:gd name="connsiteX18" fmla="*/ 0 w 4216400"/>
              <a:gd name="connsiteY18" fmla="*/ 2923037 h 2923037"/>
              <a:gd name="connsiteX19" fmla="*/ 0 w 4216400"/>
              <a:gd name="connsiteY19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887663 w 4216400"/>
              <a:gd name="connsiteY3" fmla="*/ 2489200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2930526 w 4216400"/>
              <a:gd name="connsiteY3" fmla="*/ 2408238 h 2923037"/>
              <a:gd name="connsiteX4" fmla="*/ 2720975 w 4216400"/>
              <a:gd name="connsiteY4" fmla="*/ 2432050 h 2923037"/>
              <a:gd name="connsiteX5" fmla="*/ 2654300 w 4216400"/>
              <a:gd name="connsiteY5" fmla="*/ 2322512 h 2923037"/>
              <a:gd name="connsiteX6" fmla="*/ 2478087 w 4216400"/>
              <a:gd name="connsiteY6" fmla="*/ 2474913 h 2923037"/>
              <a:gd name="connsiteX7" fmla="*/ 2225676 w 4216400"/>
              <a:gd name="connsiteY7" fmla="*/ 2293938 h 2923037"/>
              <a:gd name="connsiteX8" fmla="*/ 2163762 w 4216400"/>
              <a:gd name="connsiteY8" fmla="*/ 2365375 h 2923037"/>
              <a:gd name="connsiteX9" fmla="*/ 1997075 w 4216400"/>
              <a:gd name="connsiteY9" fmla="*/ 2436813 h 2923037"/>
              <a:gd name="connsiteX10" fmla="*/ 1787526 w 4216400"/>
              <a:gd name="connsiteY10" fmla="*/ 2374900 h 2923037"/>
              <a:gd name="connsiteX11" fmla="*/ 1663701 w 4216400"/>
              <a:gd name="connsiteY11" fmla="*/ 2422525 h 2923037"/>
              <a:gd name="connsiteX12" fmla="*/ 1577976 w 4216400"/>
              <a:gd name="connsiteY12" fmla="*/ 2527300 h 2923037"/>
              <a:gd name="connsiteX13" fmla="*/ 1387475 w 4216400"/>
              <a:gd name="connsiteY13" fmla="*/ 2532063 h 2923037"/>
              <a:gd name="connsiteX14" fmla="*/ 1049338 w 4216400"/>
              <a:gd name="connsiteY14" fmla="*/ 2803525 h 2923037"/>
              <a:gd name="connsiteX15" fmla="*/ 596900 w 4216400"/>
              <a:gd name="connsiteY15" fmla="*/ 2813051 h 2923037"/>
              <a:gd name="connsiteX16" fmla="*/ 358775 w 4216400"/>
              <a:gd name="connsiteY16" fmla="*/ 2870201 h 2923037"/>
              <a:gd name="connsiteX17" fmla="*/ 206375 w 4216400"/>
              <a:gd name="connsiteY17" fmla="*/ 2817812 h 2923037"/>
              <a:gd name="connsiteX18" fmla="*/ 158750 w 4216400"/>
              <a:gd name="connsiteY18" fmla="*/ 2879725 h 2923037"/>
              <a:gd name="connsiteX19" fmla="*/ 0 w 4216400"/>
              <a:gd name="connsiteY19" fmla="*/ 2923037 h 2923037"/>
              <a:gd name="connsiteX20" fmla="*/ 0 w 4216400"/>
              <a:gd name="connsiteY20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5300 w 4216400"/>
              <a:gd name="connsiteY3" fmla="*/ 245110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030537 w 4216400"/>
              <a:gd name="connsiteY3" fmla="*/ 2317750 h 2923037"/>
              <a:gd name="connsiteX4" fmla="*/ 2930526 w 4216400"/>
              <a:gd name="connsiteY4" fmla="*/ 2408238 h 2923037"/>
              <a:gd name="connsiteX5" fmla="*/ 2720975 w 4216400"/>
              <a:gd name="connsiteY5" fmla="*/ 2432050 h 2923037"/>
              <a:gd name="connsiteX6" fmla="*/ 2654300 w 4216400"/>
              <a:gd name="connsiteY6" fmla="*/ 2322512 h 2923037"/>
              <a:gd name="connsiteX7" fmla="*/ 2478087 w 4216400"/>
              <a:gd name="connsiteY7" fmla="*/ 2474913 h 2923037"/>
              <a:gd name="connsiteX8" fmla="*/ 2225676 w 4216400"/>
              <a:gd name="connsiteY8" fmla="*/ 2293938 h 2923037"/>
              <a:gd name="connsiteX9" fmla="*/ 2163762 w 4216400"/>
              <a:gd name="connsiteY9" fmla="*/ 2365375 h 2923037"/>
              <a:gd name="connsiteX10" fmla="*/ 1997075 w 4216400"/>
              <a:gd name="connsiteY10" fmla="*/ 2436813 h 2923037"/>
              <a:gd name="connsiteX11" fmla="*/ 1787526 w 4216400"/>
              <a:gd name="connsiteY11" fmla="*/ 2374900 h 2923037"/>
              <a:gd name="connsiteX12" fmla="*/ 1663701 w 4216400"/>
              <a:gd name="connsiteY12" fmla="*/ 2422525 h 2923037"/>
              <a:gd name="connsiteX13" fmla="*/ 1577976 w 4216400"/>
              <a:gd name="connsiteY13" fmla="*/ 2527300 h 2923037"/>
              <a:gd name="connsiteX14" fmla="*/ 1387475 w 4216400"/>
              <a:gd name="connsiteY14" fmla="*/ 2532063 h 2923037"/>
              <a:gd name="connsiteX15" fmla="*/ 1049338 w 4216400"/>
              <a:gd name="connsiteY15" fmla="*/ 2803525 h 2923037"/>
              <a:gd name="connsiteX16" fmla="*/ 596900 w 4216400"/>
              <a:gd name="connsiteY16" fmla="*/ 2813051 h 2923037"/>
              <a:gd name="connsiteX17" fmla="*/ 358775 w 4216400"/>
              <a:gd name="connsiteY17" fmla="*/ 2870201 h 2923037"/>
              <a:gd name="connsiteX18" fmla="*/ 206375 w 4216400"/>
              <a:gd name="connsiteY18" fmla="*/ 2817812 h 2923037"/>
              <a:gd name="connsiteX19" fmla="*/ 158750 w 4216400"/>
              <a:gd name="connsiteY19" fmla="*/ 2879725 h 2923037"/>
              <a:gd name="connsiteX20" fmla="*/ 0 w 4216400"/>
              <a:gd name="connsiteY20" fmla="*/ 2923037 h 2923037"/>
              <a:gd name="connsiteX21" fmla="*/ 0 w 4216400"/>
              <a:gd name="connsiteY21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359150 w 4216400"/>
              <a:gd name="connsiteY3" fmla="*/ 2479675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435350 w 4216400"/>
              <a:gd name="connsiteY3" fmla="*/ 2432050 h 2923037"/>
              <a:gd name="connsiteX4" fmla="*/ 3030537 w 4216400"/>
              <a:gd name="connsiteY4" fmla="*/ 2317750 h 2923037"/>
              <a:gd name="connsiteX5" fmla="*/ 2930526 w 4216400"/>
              <a:gd name="connsiteY5" fmla="*/ 2408238 h 2923037"/>
              <a:gd name="connsiteX6" fmla="*/ 2720975 w 4216400"/>
              <a:gd name="connsiteY6" fmla="*/ 2432050 h 2923037"/>
              <a:gd name="connsiteX7" fmla="*/ 2654300 w 4216400"/>
              <a:gd name="connsiteY7" fmla="*/ 2322512 h 2923037"/>
              <a:gd name="connsiteX8" fmla="*/ 2478087 w 4216400"/>
              <a:gd name="connsiteY8" fmla="*/ 2474913 h 2923037"/>
              <a:gd name="connsiteX9" fmla="*/ 2225676 w 4216400"/>
              <a:gd name="connsiteY9" fmla="*/ 2293938 h 2923037"/>
              <a:gd name="connsiteX10" fmla="*/ 2163762 w 4216400"/>
              <a:gd name="connsiteY10" fmla="*/ 2365375 h 2923037"/>
              <a:gd name="connsiteX11" fmla="*/ 1997075 w 4216400"/>
              <a:gd name="connsiteY11" fmla="*/ 2436813 h 2923037"/>
              <a:gd name="connsiteX12" fmla="*/ 1787526 w 4216400"/>
              <a:gd name="connsiteY12" fmla="*/ 2374900 h 2923037"/>
              <a:gd name="connsiteX13" fmla="*/ 1663701 w 4216400"/>
              <a:gd name="connsiteY13" fmla="*/ 2422525 h 2923037"/>
              <a:gd name="connsiteX14" fmla="*/ 1577976 w 4216400"/>
              <a:gd name="connsiteY14" fmla="*/ 2527300 h 2923037"/>
              <a:gd name="connsiteX15" fmla="*/ 1387475 w 4216400"/>
              <a:gd name="connsiteY15" fmla="*/ 2532063 h 2923037"/>
              <a:gd name="connsiteX16" fmla="*/ 1049338 w 4216400"/>
              <a:gd name="connsiteY16" fmla="*/ 2803525 h 2923037"/>
              <a:gd name="connsiteX17" fmla="*/ 596900 w 4216400"/>
              <a:gd name="connsiteY17" fmla="*/ 2813051 h 2923037"/>
              <a:gd name="connsiteX18" fmla="*/ 358775 w 4216400"/>
              <a:gd name="connsiteY18" fmla="*/ 2870201 h 2923037"/>
              <a:gd name="connsiteX19" fmla="*/ 206375 w 4216400"/>
              <a:gd name="connsiteY19" fmla="*/ 2817812 h 2923037"/>
              <a:gd name="connsiteX20" fmla="*/ 158750 w 4216400"/>
              <a:gd name="connsiteY20" fmla="*/ 2879725 h 2923037"/>
              <a:gd name="connsiteX21" fmla="*/ 0 w 4216400"/>
              <a:gd name="connsiteY21" fmla="*/ 2923037 h 2923037"/>
              <a:gd name="connsiteX22" fmla="*/ 0 w 4216400"/>
              <a:gd name="connsiteY22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78225 w 4216400"/>
              <a:gd name="connsiteY3" fmla="*/ 2522538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535362 w 4216400"/>
              <a:gd name="connsiteY3" fmla="*/ 2393951 h 2923037"/>
              <a:gd name="connsiteX4" fmla="*/ 3435350 w 4216400"/>
              <a:gd name="connsiteY4" fmla="*/ 2432050 h 2923037"/>
              <a:gd name="connsiteX5" fmla="*/ 3030537 w 4216400"/>
              <a:gd name="connsiteY5" fmla="*/ 2317750 h 2923037"/>
              <a:gd name="connsiteX6" fmla="*/ 2930526 w 4216400"/>
              <a:gd name="connsiteY6" fmla="*/ 2408238 h 2923037"/>
              <a:gd name="connsiteX7" fmla="*/ 2720975 w 4216400"/>
              <a:gd name="connsiteY7" fmla="*/ 2432050 h 2923037"/>
              <a:gd name="connsiteX8" fmla="*/ 2654300 w 4216400"/>
              <a:gd name="connsiteY8" fmla="*/ 2322512 h 2923037"/>
              <a:gd name="connsiteX9" fmla="*/ 2478087 w 4216400"/>
              <a:gd name="connsiteY9" fmla="*/ 2474913 h 2923037"/>
              <a:gd name="connsiteX10" fmla="*/ 2225676 w 4216400"/>
              <a:gd name="connsiteY10" fmla="*/ 2293938 h 2923037"/>
              <a:gd name="connsiteX11" fmla="*/ 2163762 w 4216400"/>
              <a:gd name="connsiteY11" fmla="*/ 2365375 h 2923037"/>
              <a:gd name="connsiteX12" fmla="*/ 1997075 w 4216400"/>
              <a:gd name="connsiteY12" fmla="*/ 2436813 h 2923037"/>
              <a:gd name="connsiteX13" fmla="*/ 1787526 w 4216400"/>
              <a:gd name="connsiteY13" fmla="*/ 2374900 h 2923037"/>
              <a:gd name="connsiteX14" fmla="*/ 1663701 w 4216400"/>
              <a:gd name="connsiteY14" fmla="*/ 2422525 h 2923037"/>
              <a:gd name="connsiteX15" fmla="*/ 1577976 w 4216400"/>
              <a:gd name="connsiteY15" fmla="*/ 2527300 h 2923037"/>
              <a:gd name="connsiteX16" fmla="*/ 1387475 w 4216400"/>
              <a:gd name="connsiteY16" fmla="*/ 2532063 h 2923037"/>
              <a:gd name="connsiteX17" fmla="*/ 1049338 w 4216400"/>
              <a:gd name="connsiteY17" fmla="*/ 2803525 h 2923037"/>
              <a:gd name="connsiteX18" fmla="*/ 596900 w 4216400"/>
              <a:gd name="connsiteY18" fmla="*/ 2813051 h 2923037"/>
              <a:gd name="connsiteX19" fmla="*/ 358775 w 4216400"/>
              <a:gd name="connsiteY19" fmla="*/ 2870201 h 2923037"/>
              <a:gd name="connsiteX20" fmla="*/ 206375 w 4216400"/>
              <a:gd name="connsiteY20" fmla="*/ 2817812 h 2923037"/>
              <a:gd name="connsiteX21" fmla="*/ 158750 w 4216400"/>
              <a:gd name="connsiteY21" fmla="*/ 2879725 h 2923037"/>
              <a:gd name="connsiteX22" fmla="*/ 0 w 4216400"/>
              <a:gd name="connsiteY22" fmla="*/ 2923037 h 2923037"/>
              <a:gd name="connsiteX23" fmla="*/ 0 w 4216400"/>
              <a:gd name="connsiteY23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697288 w 4216400"/>
              <a:gd name="connsiteY3" fmla="*/ 25177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797300 w 4216400"/>
              <a:gd name="connsiteY3" fmla="*/ 2403475 h 2923037"/>
              <a:gd name="connsiteX4" fmla="*/ 3535362 w 4216400"/>
              <a:gd name="connsiteY4" fmla="*/ 2393951 h 2923037"/>
              <a:gd name="connsiteX5" fmla="*/ 3435350 w 4216400"/>
              <a:gd name="connsiteY5" fmla="*/ 2432050 h 2923037"/>
              <a:gd name="connsiteX6" fmla="*/ 3030537 w 4216400"/>
              <a:gd name="connsiteY6" fmla="*/ 2317750 h 2923037"/>
              <a:gd name="connsiteX7" fmla="*/ 2930526 w 4216400"/>
              <a:gd name="connsiteY7" fmla="*/ 2408238 h 2923037"/>
              <a:gd name="connsiteX8" fmla="*/ 2720975 w 4216400"/>
              <a:gd name="connsiteY8" fmla="*/ 2432050 h 2923037"/>
              <a:gd name="connsiteX9" fmla="*/ 2654300 w 4216400"/>
              <a:gd name="connsiteY9" fmla="*/ 2322512 h 2923037"/>
              <a:gd name="connsiteX10" fmla="*/ 2478087 w 4216400"/>
              <a:gd name="connsiteY10" fmla="*/ 2474913 h 2923037"/>
              <a:gd name="connsiteX11" fmla="*/ 2225676 w 4216400"/>
              <a:gd name="connsiteY11" fmla="*/ 2293938 h 2923037"/>
              <a:gd name="connsiteX12" fmla="*/ 2163762 w 4216400"/>
              <a:gd name="connsiteY12" fmla="*/ 2365375 h 2923037"/>
              <a:gd name="connsiteX13" fmla="*/ 1997075 w 4216400"/>
              <a:gd name="connsiteY13" fmla="*/ 2436813 h 2923037"/>
              <a:gd name="connsiteX14" fmla="*/ 1787526 w 4216400"/>
              <a:gd name="connsiteY14" fmla="*/ 2374900 h 2923037"/>
              <a:gd name="connsiteX15" fmla="*/ 1663701 w 4216400"/>
              <a:gd name="connsiteY15" fmla="*/ 2422525 h 2923037"/>
              <a:gd name="connsiteX16" fmla="*/ 1577976 w 4216400"/>
              <a:gd name="connsiteY16" fmla="*/ 2527300 h 2923037"/>
              <a:gd name="connsiteX17" fmla="*/ 1387475 w 4216400"/>
              <a:gd name="connsiteY17" fmla="*/ 2532063 h 2923037"/>
              <a:gd name="connsiteX18" fmla="*/ 1049338 w 4216400"/>
              <a:gd name="connsiteY18" fmla="*/ 2803525 h 2923037"/>
              <a:gd name="connsiteX19" fmla="*/ 596900 w 4216400"/>
              <a:gd name="connsiteY19" fmla="*/ 2813051 h 2923037"/>
              <a:gd name="connsiteX20" fmla="*/ 358775 w 4216400"/>
              <a:gd name="connsiteY20" fmla="*/ 2870201 h 2923037"/>
              <a:gd name="connsiteX21" fmla="*/ 206375 w 4216400"/>
              <a:gd name="connsiteY21" fmla="*/ 2817812 h 2923037"/>
              <a:gd name="connsiteX22" fmla="*/ 158750 w 4216400"/>
              <a:gd name="connsiteY22" fmla="*/ 2879725 h 2923037"/>
              <a:gd name="connsiteX23" fmla="*/ 0 w 4216400"/>
              <a:gd name="connsiteY23" fmla="*/ 2923037 h 2923037"/>
              <a:gd name="connsiteX24" fmla="*/ 0 w 4216400"/>
              <a:gd name="connsiteY24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873500 w 4216400"/>
              <a:gd name="connsiteY3" fmla="*/ 2493963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44937 w 4216400"/>
              <a:gd name="connsiteY3" fmla="*/ 2103438 h 2923037"/>
              <a:gd name="connsiteX4" fmla="*/ 3797300 w 4216400"/>
              <a:gd name="connsiteY4" fmla="*/ 2403475 h 2923037"/>
              <a:gd name="connsiteX5" fmla="*/ 3535362 w 4216400"/>
              <a:gd name="connsiteY5" fmla="*/ 2393951 h 2923037"/>
              <a:gd name="connsiteX6" fmla="*/ 3435350 w 4216400"/>
              <a:gd name="connsiteY6" fmla="*/ 2432050 h 2923037"/>
              <a:gd name="connsiteX7" fmla="*/ 3030537 w 4216400"/>
              <a:gd name="connsiteY7" fmla="*/ 2317750 h 2923037"/>
              <a:gd name="connsiteX8" fmla="*/ 2930526 w 4216400"/>
              <a:gd name="connsiteY8" fmla="*/ 2408238 h 2923037"/>
              <a:gd name="connsiteX9" fmla="*/ 2720975 w 4216400"/>
              <a:gd name="connsiteY9" fmla="*/ 2432050 h 2923037"/>
              <a:gd name="connsiteX10" fmla="*/ 2654300 w 4216400"/>
              <a:gd name="connsiteY10" fmla="*/ 2322512 h 2923037"/>
              <a:gd name="connsiteX11" fmla="*/ 2478087 w 4216400"/>
              <a:gd name="connsiteY11" fmla="*/ 2474913 h 2923037"/>
              <a:gd name="connsiteX12" fmla="*/ 2225676 w 4216400"/>
              <a:gd name="connsiteY12" fmla="*/ 2293938 h 2923037"/>
              <a:gd name="connsiteX13" fmla="*/ 2163762 w 4216400"/>
              <a:gd name="connsiteY13" fmla="*/ 2365375 h 2923037"/>
              <a:gd name="connsiteX14" fmla="*/ 1997075 w 4216400"/>
              <a:gd name="connsiteY14" fmla="*/ 2436813 h 2923037"/>
              <a:gd name="connsiteX15" fmla="*/ 1787526 w 4216400"/>
              <a:gd name="connsiteY15" fmla="*/ 2374900 h 2923037"/>
              <a:gd name="connsiteX16" fmla="*/ 1663701 w 4216400"/>
              <a:gd name="connsiteY16" fmla="*/ 2422525 h 2923037"/>
              <a:gd name="connsiteX17" fmla="*/ 1577976 w 4216400"/>
              <a:gd name="connsiteY17" fmla="*/ 2527300 h 2923037"/>
              <a:gd name="connsiteX18" fmla="*/ 1387475 w 4216400"/>
              <a:gd name="connsiteY18" fmla="*/ 2532063 h 2923037"/>
              <a:gd name="connsiteX19" fmla="*/ 1049338 w 4216400"/>
              <a:gd name="connsiteY19" fmla="*/ 2803525 h 2923037"/>
              <a:gd name="connsiteX20" fmla="*/ 596900 w 4216400"/>
              <a:gd name="connsiteY20" fmla="*/ 2813051 h 2923037"/>
              <a:gd name="connsiteX21" fmla="*/ 358775 w 4216400"/>
              <a:gd name="connsiteY21" fmla="*/ 2870201 h 2923037"/>
              <a:gd name="connsiteX22" fmla="*/ 206375 w 4216400"/>
              <a:gd name="connsiteY22" fmla="*/ 2817812 h 2923037"/>
              <a:gd name="connsiteX23" fmla="*/ 158750 w 4216400"/>
              <a:gd name="connsiteY23" fmla="*/ 2879725 h 2923037"/>
              <a:gd name="connsiteX24" fmla="*/ 0 w 4216400"/>
              <a:gd name="connsiteY24" fmla="*/ 2923037 h 2923037"/>
              <a:gd name="connsiteX25" fmla="*/ 0 w 4216400"/>
              <a:gd name="connsiteY25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3987800 w 4216400"/>
              <a:gd name="connsiteY3" fmla="*/ 225107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92575 w 4216400"/>
              <a:gd name="connsiteY3" fmla="*/ 217487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168775 w 4216400"/>
              <a:gd name="connsiteY3" fmla="*/ 2003425 h 2923037"/>
              <a:gd name="connsiteX4" fmla="*/ 4083050 w 4216400"/>
              <a:gd name="connsiteY4" fmla="*/ 2079625 h 2923037"/>
              <a:gd name="connsiteX5" fmla="*/ 3944937 w 4216400"/>
              <a:gd name="connsiteY5" fmla="*/ 2103438 h 2923037"/>
              <a:gd name="connsiteX6" fmla="*/ 3797300 w 4216400"/>
              <a:gd name="connsiteY6" fmla="*/ 2403475 h 2923037"/>
              <a:gd name="connsiteX7" fmla="*/ 3535362 w 4216400"/>
              <a:gd name="connsiteY7" fmla="*/ 2393951 h 2923037"/>
              <a:gd name="connsiteX8" fmla="*/ 3435350 w 4216400"/>
              <a:gd name="connsiteY8" fmla="*/ 2432050 h 2923037"/>
              <a:gd name="connsiteX9" fmla="*/ 3030537 w 4216400"/>
              <a:gd name="connsiteY9" fmla="*/ 2317750 h 2923037"/>
              <a:gd name="connsiteX10" fmla="*/ 2930526 w 4216400"/>
              <a:gd name="connsiteY10" fmla="*/ 2408238 h 2923037"/>
              <a:gd name="connsiteX11" fmla="*/ 2720975 w 4216400"/>
              <a:gd name="connsiteY11" fmla="*/ 2432050 h 2923037"/>
              <a:gd name="connsiteX12" fmla="*/ 2654300 w 4216400"/>
              <a:gd name="connsiteY12" fmla="*/ 2322512 h 2923037"/>
              <a:gd name="connsiteX13" fmla="*/ 2478087 w 4216400"/>
              <a:gd name="connsiteY13" fmla="*/ 2474913 h 2923037"/>
              <a:gd name="connsiteX14" fmla="*/ 2225676 w 4216400"/>
              <a:gd name="connsiteY14" fmla="*/ 2293938 h 2923037"/>
              <a:gd name="connsiteX15" fmla="*/ 2163762 w 4216400"/>
              <a:gd name="connsiteY15" fmla="*/ 2365375 h 2923037"/>
              <a:gd name="connsiteX16" fmla="*/ 1997075 w 4216400"/>
              <a:gd name="connsiteY16" fmla="*/ 2436813 h 2923037"/>
              <a:gd name="connsiteX17" fmla="*/ 1787526 w 4216400"/>
              <a:gd name="connsiteY17" fmla="*/ 2374900 h 2923037"/>
              <a:gd name="connsiteX18" fmla="*/ 1663701 w 4216400"/>
              <a:gd name="connsiteY18" fmla="*/ 2422525 h 2923037"/>
              <a:gd name="connsiteX19" fmla="*/ 1577976 w 4216400"/>
              <a:gd name="connsiteY19" fmla="*/ 2527300 h 2923037"/>
              <a:gd name="connsiteX20" fmla="*/ 1387475 w 4216400"/>
              <a:gd name="connsiteY20" fmla="*/ 2532063 h 2923037"/>
              <a:gd name="connsiteX21" fmla="*/ 1049338 w 4216400"/>
              <a:gd name="connsiteY21" fmla="*/ 2803525 h 2923037"/>
              <a:gd name="connsiteX22" fmla="*/ 596900 w 4216400"/>
              <a:gd name="connsiteY22" fmla="*/ 2813051 h 2923037"/>
              <a:gd name="connsiteX23" fmla="*/ 358775 w 4216400"/>
              <a:gd name="connsiteY23" fmla="*/ 2870201 h 2923037"/>
              <a:gd name="connsiteX24" fmla="*/ 206375 w 4216400"/>
              <a:gd name="connsiteY24" fmla="*/ 2817812 h 2923037"/>
              <a:gd name="connsiteX25" fmla="*/ 158750 w 4216400"/>
              <a:gd name="connsiteY25" fmla="*/ 2879725 h 2923037"/>
              <a:gd name="connsiteX26" fmla="*/ 0 w 4216400"/>
              <a:gd name="connsiteY26" fmla="*/ 2923037 h 2923037"/>
              <a:gd name="connsiteX27" fmla="*/ 0 w 4216400"/>
              <a:gd name="connsiteY27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2923037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  <a:gd name="connsiteX0" fmla="*/ 0 w 4216400"/>
              <a:gd name="connsiteY0" fmla="*/ 0 h 2923037"/>
              <a:gd name="connsiteX1" fmla="*/ 4216400 w 4216400"/>
              <a:gd name="connsiteY1" fmla="*/ 0 h 2923037"/>
              <a:gd name="connsiteX2" fmla="*/ 4216400 w 4216400"/>
              <a:gd name="connsiteY2" fmla="*/ 1980062 h 2923037"/>
              <a:gd name="connsiteX3" fmla="*/ 4083050 w 4216400"/>
              <a:gd name="connsiteY3" fmla="*/ 2079625 h 2923037"/>
              <a:gd name="connsiteX4" fmla="*/ 3944937 w 4216400"/>
              <a:gd name="connsiteY4" fmla="*/ 2103438 h 2923037"/>
              <a:gd name="connsiteX5" fmla="*/ 3797300 w 4216400"/>
              <a:gd name="connsiteY5" fmla="*/ 2403475 h 2923037"/>
              <a:gd name="connsiteX6" fmla="*/ 3535362 w 4216400"/>
              <a:gd name="connsiteY6" fmla="*/ 2393951 h 2923037"/>
              <a:gd name="connsiteX7" fmla="*/ 3435350 w 4216400"/>
              <a:gd name="connsiteY7" fmla="*/ 2432050 h 2923037"/>
              <a:gd name="connsiteX8" fmla="*/ 3030537 w 4216400"/>
              <a:gd name="connsiteY8" fmla="*/ 2317750 h 2923037"/>
              <a:gd name="connsiteX9" fmla="*/ 2930526 w 4216400"/>
              <a:gd name="connsiteY9" fmla="*/ 2408238 h 2923037"/>
              <a:gd name="connsiteX10" fmla="*/ 2720975 w 4216400"/>
              <a:gd name="connsiteY10" fmla="*/ 2432050 h 2923037"/>
              <a:gd name="connsiteX11" fmla="*/ 2654300 w 4216400"/>
              <a:gd name="connsiteY11" fmla="*/ 2322512 h 2923037"/>
              <a:gd name="connsiteX12" fmla="*/ 2478087 w 4216400"/>
              <a:gd name="connsiteY12" fmla="*/ 2474913 h 2923037"/>
              <a:gd name="connsiteX13" fmla="*/ 2225676 w 4216400"/>
              <a:gd name="connsiteY13" fmla="*/ 2293938 h 2923037"/>
              <a:gd name="connsiteX14" fmla="*/ 2163762 w 4216400"/>
              <a:gd name="connsiteY14" fmla="*/ 2365375 h 2923037"/>
              <a:gd name="connsiteX15" fmla="*/ 1997075 w 4216400"/>
              <a:gd name="connsiteY15" fmla="*/ 2436813 h 2923037"/>
              <a:gd name="connsiteX16" fmla="*/ 1787526 w 4216400"/>
              <a:gd name="connsiteY16" fmla="*/ 2374900 h 2923037"/>
              <a:gd name="connsiteX17" fmla="*/ 1663701 w 4216400"/>
              <a:gd name="connsiteY17" fmla="*/ 2422525 h 2923037"/>
              <a:gd name="connsiteX18" fmla="*/ 1577976 w 4216400"/>
              <a:gd name="connsiteY18" fmla="*/ 2527300 h 2923037"/>
              <a:gd name="connsiteX19" fmla="*/ 1387475 w 4216400"/>
              <a:gd name="connsiteY19" fmla="*/ 2532063 h 2923037"/>
              <a:gd name="connsiteX20" fmla="*/ 1049338 w 4216400"/>
              <a:gd name="connsiteY20" fmla="*/ 2803525 h 2923037"/>
              <a:gd name="connsiteX21" fmla="*/ 596900 w 4216400"/>
              <a:gd name="connsiteY21" fmla="*/ 2813051 h 2923037"/>
              <a:gd name="connsiteX22" fmla="*/ 358775 w 4216400"/>
              <a:gd name="connsiteY22" fmla="*/ 2870201 h 2923037"/>
              <a:gd name="connsiteX23" fmla="*/ 206375 w 4216400"/>
              <a:gd name="connsiteY23" fmla="*/ 2817812 h 2923037"/>
              <a:gd name="connsiteX24" fmla="*/ 158750 w 4216400"/>
              <a:gd name="connsiteY24" fmla="*/ 2879725 h 2923037"/>
              <a:gd name="connsiteX25" fmla="*/ 0 w 4216400"/>
              <a:gd name="connsiteY25" fmla="*/ 2923037 h 2923037"/>
              <a:gd name="connsiteX26" fmla="*/ 0 w 4216400"/>
              <a:gd name="connsiteY26" fmla="*/ 0 h 292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216400" h="2923037">
                <a:moveTo>
                  <a:pt x="0" y="0"/>
                </a:moveTo>
                <a:lnTo>
                  <a:pt x="4216400" y="0"/>
                </a:lnTo>
                <a:lnTo>
                  <a:pt x="4216400" y="1980062"/>
                </a:lnTo>
                <a:lnTo>
                  <a:pt x="4083050" y="2079625"/>
                </a:lnTo>
                <a:lnTo>
                  <a:pt x="3944937" y="2103438"/>
                </a:lnTo>
                <a:lnTo>
                  <a:pt x="3797300" y="2403475"/>
                </a:lnTo>
                <a:lnTo>
                  <a:pt x="3535362" y="2393951"/>
                </a:lnTo>
                <a:lnTo>
                  <a:pt x="3435350" y="2432050"/>
                </a:lnTo>
                <a:lnTo>
                  <a:pt x="3030537" y="2317750"/>
                </a:lnTo>
                <a:lnTo>
                  <a:pt x="2930526" y="2408238"/>
                </a:lnTo>
                <a:lnTo>
                  <a:pt x="2720975" y="2432050"/>
                </a:lnTo>
                <a:lnTo>
                  <a:pt x="2654300" y="2322512"/>
                </a:lnTo>
                <a:lnTo>
                  <a:pt x="2478087" y="2474913"/>
                </a:lnTo>
                <a:lnTo>
                  <a:pt x="2225676" y="2293938"/>
                </a:lnTo>
                <a:lnTo>
                  <a:pt x="2163762" y="2365375"/>
                </a:lnTo>
                <a:lnTo>
                  <a:pt x="1997075" y="2436813"/>
                </a:lnTo>
                <a:lnTo>
                  <a:pt x="1787526" y="2374900"/>
                </a:lnTo>
                <a:lnTo>
                  <a:pt x="1663701" y="2422525"/>
                </a:lnTo>
                <a:lnTo>
                  <a:pt x="1577976" y="2527300"/>
                </a:lnTo>
                <a:lnTo>
                  <a:pt x="1387475" y="2532063"/>
                </a:lnTo>
                <a:lnTo>
                  <a:pt x="1049338" y="2803525"/>
                </a:lnTo>
                <a:lnTo>
                  <a:pt x="596900" y="2813051"/>
                </a:lnTo>
                <a:lnTo>
                  <a:pt x="358775" y="2870201"/>
                </a:lnTo>
                <a:lnTo>
                  <a:pt x="206375" y="2817812"/>
                </a:lnTo>
                <a:lnTo>
                  <a:pt x="158750" y="2879725"/>
                </a:lnTo>
                <a:lnTo>
                  <a:pt x="0" y="2923037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1"/>
            </a:solidFill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660900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289842" y="1618169"/>
            <a:ext cx="4197350" cy="526226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66700" indent="-266700"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5851097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49171902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organisational char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3204046" y="3493638"/>
            <a:ext cx="2736000" cy="977000"/>
          </a:xfrm>
          <a:noFill/>
          <a:ln>
            <a:solidFill>
              <a:schemeClr val="accent1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6121400" y="3493638"/>
            <a:ext cx="2736000" cy="977000"/>
          </a:xfrm>
          <a:noFill/>
          <a:ln>
            <a:solidFill>
              <a:schemeClr val="accent4"/>
            </a:solidFill>
          </a:ln>
        </p:spPr>
        <p:txBody>
          <a:bodyPr lIns="72000" tIns="72000" rIns="72000" bIns="36000" anchor="t" anchorCtr="0">
            <a:noAutofit/>
          </a:bodyPr>
          <a:lstStyle>
            <a:lvl1pPr marL="180975" indent="-1809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310AA-847B-4063-A899-3FA7213427A7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842418"/>
            <a:ext cx="2736000" cy="655879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2842418"/>
            <a:ext cx="2736000" cy="655879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842418"/>
            <a:ext cx="2736000" cy="655879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17" name="Freihandform 16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Freihandform 17"/>
          <p:cNvSpPr/>
          <p:nvPr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9" name="Gerader Verbinder 22"/>
          <p:cNvCxnSpPr/>
          <p:nvPr/>
        </p:nvCxnSpPr>
        <p:spPr>
          <a:xfrm>
            <a:off x="4564807" y="2387600"/>
            <a:ext cx="4443" cy="464343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ihandform 17"/>
          <p:cNvSpPr/>
          <p:nvPr userDrawn="1"/>
        </p:nvSpPr>
        <p:spPr>
          <a:xfrm>
            <a:off x="1651000" y="2390914"/>
            <a:ext cx="5826760" cy="462022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15578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text 4 - 1/4 grey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284950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03914" y="234656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03914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052F0-A65C-44FC-B982-E3D1FFB99B1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403913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Rechteck 22"/>
          <p:cNvSpPr/>
          <p:nvPr/>
        </p:nvSpPr>
        <p:spPr>
          <a:xfrm>
            <a:off x="4667169" y="162720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786133" y="234656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786133" y="292494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4786132" y="189728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Rechteck 33"/>
          <p:cNvSpPr/>
          <p:nvPr/>
        </p:nvSpPr>
        <p:spPr>
          <a:xfrm>
            <a:off x="284950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3914" y="4554926"/>
            <a:ext cx="3960812" cy="664232"/>
          </a:xfr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3914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Textplatzhalter 23"/>
          <p:cNvSpPr>
            <a:spLocks noGrp="1"/>
          </p:cNvSpPr>
          <p:nvPr>
            <p:ph type="body" sz="quarter" idx="32" hasCustomPrompt="1"/>
          </p:nvPr>
        </p:nvSpPr>
        <p:spPr>
          <a:xfrm>
            <a:off x="403913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Rechteck 37"/>
          <p:cNvSpPr/>
          <p:nvPr/>
        </p:nvSpPr>
        <p:spPr>
          <a:xfrm>
            <a:off x="4667169" y="3835560"/>
            <a:ext cx="4196563" cy="20321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786133" y="4554926"/>
            <a:ext cx="3960812" cy="6642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786133" y="5133304"/>
            <a:ext cx="3960812" cy="461332"/>
          </a:xfrm>
        </p:spPr>
        <p:txBody>
          <a:bodyPr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786132" y="4105643"/>
            <a:ext cx="3960813" cy="403478"/>
          </a:xfrm>
          <a:noFill/>
        </p:spPr>
        <p:txBody>
          <a:bodyPr anchor="b" anchorCtr="1"/>
          <a:lstStyle>
            <a:lvl1pPr marL="0" indent="0">
              <a:buNone/>
              <a:defRPr sz="2800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69902182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288925" y="1619250"/>
            <a:ext cx="8569325" cy="45212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C11DA-F605-427D-918D-A0A0517F685E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91038" y="1620043"/>
            <a:ext cx="1809154" cy="1168028"/>
          </a:xfrm>
          <a:prstGeom prst="callout1">
            <a:avLst>
              <a:gd name="adj1" fmla="val -276"/>
              <a:gd name="adj2" fmla="val 331"/>
              <a:gd name="adj3" fmla="val 167493"/>
              <a:gd name="adj4" fmla="val 176"/>
            </a:avLst>
          </a:prstGeom>
          <a:ln w="6350">
            <a:solidFill>
              <a:schemeClr val="accent1"/>
            </a:solidFill>
          </a:ln>
        </p:spPr>
        <p:txBody>
          <a:bodyPr lIns="72000" tIns="0" rIns="7200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2pPr>
            <a:lvl3pPr marL="180975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  <a:defRPr sz="1400"/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326025576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-history/process timeline 2 -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5C694-0345-48C8-93B8-B4E4D0384586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feil nach rechts 6"/>
          <p:cNvSpPr/>
          <p:nvPr/>
        </p:nvSpPr>
        <p:spPr>
          <a:xfrm>
            <a:off x="288925" y="3393469"/>
            <a:ext cx="8569325" cy="63560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96863" y="1612900"/>
            <a:ext cx="2579687" cy="1349375"/>
          </a:xfrm>
          <a:ln>
            <a:solidFill>
              <a:schemeClr val="accent1"/>
            </a:solidFill>
          </a:ln>
        </p:spPr>
        <p:txBody>
          <a:bodyPr lIns="72000" tIns="72000" rIns="72000" bIns="7200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lnSpc>
                <a:spcPct val="95000"/>
              </a:lnSpc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AT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>
              <a:lnSpc>
                <a:spcPct val="100000"/>
              </a:lnSpc>
              <a:spcAft>
                <a:spcPts val="0"/>
              </a:spcAft>
              <a:buNone/>
              <a:defRPr sz="1400"/>
            </a:lvl4pPr>
            <a:lvl5pPr marL="814387" indent="0">
              <a:lnSpc>
                <a:spcPct val="100000"/>
              </a:lnSpc>
              <a:spcAft>
                <a:spcPts val="0"/>
              </a:spcAft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Level 2</a:t>
            </a:r>
          </a:p>
          <a:p>
            <a:pPr marL="180975" lvl="2" indent="-180975" algn="l" defTabSz="914400" rtl="0" eaLnBrk="1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/>
            </a:pPr>
            <a:r>
              <a:rPr lang="en-US" dirty="0"/>
              <a:t>Level 3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395288" y="3573463"/>
            <a:ext cx="8083550" cy="26511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11288672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2 - text in 8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96AD8-12A9-485B-AC84-50DA55C41649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91600" y="3409749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1600" y="2543475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291600" y="557543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291600" y="5142297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291600" y="4709160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8"/>
          </p:nvPr>
        </p:nvSpPr>
        <p:spPr>
          <a:xfrm>
            <a:off x="291600" y="4276023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3842886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91600" y="2976612"/>
            <a:ext cx="2014538" cy="334963"/>
          </a:xfrm>
          <a:solidFill>
            <a:schemeClr val="bg2"/>
          </a:solidFill>
        </p:spPr>
        <p:txBody>
          <a:bodyPr vert="horz" lIns="72000" tIns="0" rIns="72000" bIns="0" rtlCol="0" anchor="ctr" anchorCtr="0">
            <a:noAutofit/>
          </a:bodyPr>
          <a:lstStyle>
            <a:lvl1pPr marL="285750" indent="-285750">
              <a:buFont typeface="Arial" panose="020B0604020202020204" pitchFamily="34" charset="0"/>
              <a:buNone/>
              <a:defRPr lang="de-AT" sz="1400" dirty="0" smtClean="0"/>
            </a:lvl1pPr>
          </a:lstStyle>
          <a:p>
            <a:pPr marL="0" lvl="0" indent="0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1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2369503" y="3409749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2369503" y="2543475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2369503" y="557543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369503" y="5142297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25"/>
          </p:nvPr>
        </p:nvSpPr>
        <p:spPr>
          <a:xfrm>
            <a:off x="2369503" y="4709160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26"/>
          </p:nvPr>
        </p:nvSpPr>
        <p:spPr>
          <a:xfrm>
            <a:off x="2369503" y="4276023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369503" y="3842886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369503" y="2976612"/>
            <a:ext cx="6488747" cy="334963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72000" rIns="72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  <a:p>
            <a:pPr lvl="0"/>
            <a:endParaRPr lang="en-US" dirty="0"/>
          </a:p>
        </p:txBody>
      </p:sp>
      <p:pic>
        <p:nvPicPr>
          <p:cNvPr id="29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1" name="Gerader Verbinder 8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17847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bracket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ihandform 30"/>
          <p:cNvSpPr/>
          <p:nvPr/>
        </p:nvSpPr>
        <p:spPr>
          <a:xfrm>
            <a:off x="276225" y="3825753"/>
            <a:ext cx="8582025" cy="266700"/>
          </a:xfrm>
          <a:custGeom>
            <a:avLst/>
            <a:gdLst>
              <a:gd name="connsiteX0" fmla="*/ 0 w 8582025"/>
              <a:gd name="connsiteY0" fmla="*/ 0 h 266700"/>
              <a:gd name="connsiteX1" fmla="*/ 209550 w 8582025"/>
              <a:gd name="connsiteY1" fmla="*/ 266700 h 266700"/>
              <a:gd name="connsiteX2" fmla="*/ 8391525 w 8582025"/>
              <a:gd name="connsiteY2" fmla="*/ 266700 h 266700"/>
              <a:gd name="connsiteX3" fmla="*/ 8582025 w 8582025"/>
              <a:gd name="connsiteY3" fmla="*/ 9525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82025" h="266700">
                <a:moveTo>
                  <a:pt x="0" y="0"/>
                </a:moveTo>
                <a:lnTo>
                  <a:pt x="209550" y="266700"/>
                </a:lnTo>
                <a:lnTo>
                  <a:pt x="8391525" y="266700"/>
                </a:lnTo>
                <a:lnTo>
                  <a:pt x="8582025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88264-8DCA-42F2-B48F-891C7644940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1624184"/>
            <a:ext cx="2736000" cy="343022"/>
          </a:xfrm>
          <a:solidFill>
            <a:schemeClr val="accent2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4046" y="1624184"/>
            <a:ext cx="2736000" cy="343022"/>
          </a:xfrm>
          <a:solidFill>
            <a:schemeClr val="accent1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1624184"/>
            <a:ext cx="2736000" cy="343022"/>
          </a:xfrm>
          <a:solidFill>
            <a:schemeClr val="accent4"/>
          </a:solidFill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4"/>
          </p:nvPr>
        </p:nvSpPr>
        <p:spPr>
          <a:xfrm>
            <a:off x="3194050" y="4556125"/>
            <a:ext cx="3610198" cy="1933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25" hasCustomPrompt="1"/>
          </p:nvPr>
        </p:nvSpPr>
        <p:spPr>
          <a:xfrm>
            <a:off x="2916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3650072" y="3924178"/>
            <a:ext cx="1874428" cy="343022"/>
          </a:xfrm>
          <a:solidFill>
            <a:schemeClr val="tx2"/>
          </a:solidFill>
        </p:spPr>
        <p:txBody>
          <a:bodyPr lIns="72000" tIns="0" rIns="72000" bIns="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29" hasCustomPrompt="1"/>
          </p:nvPr>
        </p:nvSpPr>
        <p:spPr>
          <a:xfrm>
            <a:off x="3201854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7" name="Bildplatzhalter 14"/>
          <p:cNvSpPr>
            <a:spLocks noGrp="1"/>
          </p:cNvSpPr>
          <p:nvPr>
            <p:ph type="pic" sz="quarter" idx="30" hasCustomPrompt="1"/>
          </p:nvPr>
        </p:nvSpPr>
        <p:spPr>
          <a:xfrm>
            <a:off x="6120900" y="2079625"/>
            <a:ext cx="2736000" cy="15843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1" hasCustomPrompt="1"/>
          </p:nvPr>
        </p:nvSpPr>
        <p:spPr>
          <a:xfrm>
            <a:off x="288925" y="6202790"/>
            <a:ext cx="27360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9798942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-columns 3 - text &amp; arrows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/>
          <p:cNvSpPr/>
          <p:nvPr/>
        </p:nvSpPr>
        <p:spPr>
          <a:xfrm>
            <a:off x="3197460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120683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6604987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hteck 9"/>
          <p:cNvSpPr/>
          <p:nvPr/>
        </p:nvSpPr>
        <p:spPr>
          <a:xfrm>
            <a:off x="291599" y="1628800"/>
            <a:ext cx="2736000" cy="6635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286600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27"/>
          </p:nvPr>
        </p:nvSpPr>
        <p:spPr>
          <a:xfrm>
            <a:off x="291599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2"/>
          </p:nvPr>
        </p:nvSpPr>
        <p:spPr>
          <a:xfrm>
            <a:off x="781235" y="1645884"/>
            <a:ext cx="2166753" cy="617538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33"/>
          </p:nvPr>
        </p:nvSpPr>
        <p:spPr>
          <a:xfrm>
            <a:off x="3693111" y="1645884"/>
            <a:ext cx="2166753" cy="617538"/>
          </a:xfr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FontTx/>
              <a:buNone/>
              <a:defRPr/>
            </a:lvl2pPr>
            <a:lvl3pPr marL="447675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25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6164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platzhalter 12"/>
          <p:cNvSpPr>
            <a:spLocks noGrp="1"/>
          </p:cNvSpPr>
          <p:nvPr>
            <p:ph type="body" sz="quarter" idx="36"/>
          </p:nvPr>
        </p:nvSpPr>
        <p:spPr>
          <a:xfrm>
            <a:off x="6118658" y="2292350"/>
            <a:ext cx="2736000" cy="2144762"/>
          </a:xfrm>
          <a:noFill/>
          <a:ln>
            <a:solidFill>
              <a:schemeClr val="accent1"/>
            </a:solidFill>
          </a:ln>
        </p:spPr>
        <p:txBody>
          <a:bodyPr lIns="144000" tIns="108000" rIns="144000" bIns="108000" anchor="t" anchorCtr="0">
            <a:noAutofit/>
          </a:bodyPr>
          <a:lstStyle>
            <a:lvl1pPr marL="180975" indent="-180975" algn="l">
              <a:lnSpc>
                <a:spcPct val="100000"/>
              </a:lnSpc>
              <a:spcAft>
                <a:spcPts val="0"/>
              </a:spcAft>
              <a:buSzPct val="110000"/>
              <a:buFont typeface="Wingdings" panose="05000000000000000000" pitchFamily="2" charset="2"/>
              <a:buChar char="§"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206578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126556" y="5133852"/>
            <a:ext cx="2736000" cy="676397"/>
          </a:xfrm>
          <a:solidFill>
            <a:schemeClr val="tx2"/>
          </a:solidFill>
        </p:spPr>
        <p:txBody>
          <a:bodyPr lIns="108000" tIns="0" rIns="108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Freihandform 34"/>
          <p:cNvSpPr/>
          <p:nvPr/>
        </p:nvSpPr>
        <p:spPr>
          <a:xfrm>
            <a:off x="319386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Textfeld 6"/>
          <p:cNvSpPr txBox="1"/>
          <p:nvPr/>
        </p:nvSpPr>
        <p:spPr>
          <a:xfrm>
            <a:off x="269075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8" name="Textfeld 27"/>
          <p:cNvSpPr txBox="1"/>
          <p:nvPr/>
        </p:nvSpPr>
        <p:spPr>
          <a:xfrm>
            <a:off x="31932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41" name="Textfeld 43"/>
          <p:cNvSpPr txBox="1"/>
          <p:nvPr/>
        </p:nvSpPr>
        <p:spPr>
          <a:xfrm>
            <a:off x="6126950" y="1592416"/>
            <a:ext cx="470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9" name="Freihandform 38"/>
          <p:cNvSpPr/>
          <p:nvPr/>
        </p:nvSpPr>
        <p:spPr>
          <a:xfrm>
            <a:off x="28302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Freihandform 39"/>
          <p:cNvSpPr/>
          <p:nvPr/>
        </p:nvSpPr>
        <p:spPr>
          <a:xfrm>
            <a:off x="6119940" y="4610099"/>
            <a:ext cx="2743200" cy="333375"/>
          </a:xfrm>
          <a:custGeom>
            <a:avLst/>
            <a:gdLst>
              <a:gd name="connsiteX0" fmla="*/ 0 w 2743200"/>
              <a:gd name="connsiteY0" fmla="*/ 0 h 342900"/>
              <a:gd name="connsiteX1" fmla="*/ 1409700 w 2743200"/>
              <a:gd name="connsiteY1" fmla="*/ 342900 h 342900"/>
              <a:gd name="connsiteX2" fmla="*/ 2743200 w 2743200"/>
              <a:gd name="connsiteY2" fmla="*/ 9525 h 342900"/>
              <a:gd name="connsiteX0" fmla="*/ 0 w 2743200"/>
              <a:gd name="connsiteY0" fmla="*/ 0 h 338138"/>
              <a:gd name="connsiteX1" fmla="*/ 1385888 w 2743200"/>
              <a:gd name="connsiteY1" fmla="*/ 338138 h 338138"/>
              <a:gd name="connsiteX2" fmla="*/ 2743200 w 2743200"/>
              <a:gd name="connsiteY2" fmla="*/ 9525 h 338138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  <a:gd name="connsiteX0" fmla="*/ 0 w 2743200"/>
              <a:gd name="connsiteY0" fmla="*/ 0 h 333375"/>
              <a:gd name="connsiteX1" fmla="*/ 1371600 w 2743200"/>
              <a:gd name="connsiteY1" fmla="*/ 333375 h 333375"/>
              <a:gd name="connsiteX2" fmla="*/ 2743200 w 2743200"/>
              <a:gd name="connsiteY2" fmla="*/ 9525 h 33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43200" h="333375">
                <a:moveTo>
                  <a:pt x="0" y="0"/>
                </a:moveTo>
                <a:lnTo>
                  <a:pt x="1371600" y="333375"/>
                </a:lnTo>
                <a:lnTo>
                  <a:pt x="2743200" y="9525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580292"/>
      </p:ext>
    </p:extLst>
  </p:cSld>
  <p:clrMapOvr>
    <a:masterClrMapping/>
  </p:clrMapOvr>
  <p:hf hdr="0" ft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6259C-38AB-42F9-BFD7-FAEBE525E8C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4950" y="2503115"/>
            <a:ext cx="2729162" cy="349822"/>
          </a:xfrm>
          <a:solidFill>
            <a:schemeClr val="accent2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201250" y="2503115"/>
            <a:ext cx="2745439" cy="349822"/>
          </a:xfrm>
          <a:solidFill>
            <a:schemeClr val="accent1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6121400" y="2503115"/>
            <a:ext cx="2727403" cy="349822"/>
          </a:xfrm>
          <a:solidFill>
            <a:schemeClr val="accent4"/>
          </a:solidFill>
        </p:spPr>
        <p:txBody>
          <a:bodyPr lIns="72000" tIns="72000" rIns="72000" bIns="72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Gerader Verbinder 17"/>
          <p:cNvCxnSpPr/>
          <p:nvPr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494112" y="2905125"/>
            <a:ext cx="2520000" cy="126682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2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494112" y="4467225"/>
            <a:ext cx="2520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6" name="Diagrammplatzhalter 7"/>
          <p:cNvSpPr>
            <a:spLocks noGrp="1"/>
          </p:cNvSpPr>
          <p:nvPr>
            <p:ph type="chart" sz="quarter" idx="28"/>
          </p:nvPr>
        </p:nvSpPr>
        <p:spPr>
          <a:xfrm>
            <a:off x="320125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Diagrammplatzhalter 7"/>
          <p:cNvSpPr>
            <a:spLocks noGrp="1"/>
          </p:cNvSpPr>
          <p:nvPr>
            <p:ph type="chart" sz="quarter" idx="29"/>
          </p:nvPr>
        </p:nvSpPr>
        <p:spPr>
          <a:xfrm>
            <a:off x="320125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0" name="Diagrammplatzhalter 7"/>
          <p:cNvSpPr>
            <a:spLocks noGrp="1"/>
          </p:cNvSpPr>
          <p:nvPr>
            <p:ph type="chart" sz="quarter" idx="30"/>
          </p:nvPr>
        </p:nvSpPr>
        <p:spPr>
          <a:xfrm>
            <a:off x="6121400" y="29051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31"/>
          </p:nvPr>
        </p:nvSpPr>
        <p:spPr>
          <a:xfrm>
            <a:off x="6121400" y="4467225"/>
            <a:ext cx="2736000" cy="1266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32"/>
          </p:nvPr>
        </p:nvSpPr>
        <p:spPr>
          <a:xfrm rot="16200000">
            <a:off x="-304062" y="34726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33"/>
          </p:nvPr>
        </p:nvSpPr>
        <p:spPr>
          <a:xfrm rot="16200000">
            <a:off x="-304062" y="5034700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8"/>
          <p:cNvSpPr>
            <a:spLocks noGrp="1"/>
          </p:cNvSpPr>
          <p:nvPr>
            <p:ph type="body" sz="quarter" idx="34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32" name="Grafik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35" name="Gerader Verbinder 17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4"/>
          <p:cNvCxnSpPr/>
          <p:nvPr userDrawn="1"/>
        </p:nvCxnSpPr>
        <p:spPr>
          <a:xfrm>
            <a:off x="288925" y="4288929"/>
            <a:ext cx="27328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7"/>
          <p:cNvCxnSpPr/>
          <p:nvPr userDrawn="1"/>
        </p:nvCxnSpPr>
        <p:spPr>
          <a:xfrm>
            <a:off x="3201250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1"/>
          <p:cNvCxnSpPr/>
          <p:nvPr userDrawn="1"/>
        </p:nvCxnSpPr>
        <p:spPr>
          <a:xfrm>
            <a:off x="6125425" y="4288929"/>
            <a:ext cx="2736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6956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438" y="2028825"/>
            <a:ext cx="3911600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09979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2 charts 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Gerader Verbinder 29"/>
          <p:cNvCxnSpPr/>
          <p:nvPr/>
        </p:nvCxnSpPr>
        <p:spPr>
          <a:xfrm>
            <a:off x="3483088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iagrammplatzhalter 7"/>
          <p:cNvSpPr>
            <a:spLocks noGrp="1"/>
          </p:cNvSpPr>
          <p:nvPr>
            <p:ph type="chart" sz="quarter" idx="26"/>
          </p:nvPr>
        </p:nvSpPr>
        <p:spPr>
          <a:xfrm>
            <a:off x="291600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Diagrammplatzhalter 7"/>
          <p:cNvSpPr>
            <a:spLocks noGrp="1"/>
          </p:cNvSpPr>
          <p:nvPr>
            <p:ph type="chart" sz="quarter" idx="27"/>
          </p:nvPr>
        </p:nvSpPr>
        <p:spPr>
          <a:xfrm>
            <a:off x="291600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24929-C96C-4563-B23F-56BD00E51E1C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91600" y="2777263"/>
            <a:ext cx="2005200" cy="527912"/>
          </a:xfrm>
          <a:solidFill>
            <a:schemeClr val="accent2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spcBef>
                <a:spcPts val="0"/>
              </a:spcBef>
              <a:buFont typeface="Arial" panose="020B0604020202020204" pitchFamily="34" charset="0"/>
              <a:buNone/>
              <a:tabLst/>
              <a:defRPr lang="de-AT" sz="1200" cap="all" baseline="0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cxnSp>
        <p:nvCxnSpPr>
          <p:cNvPr id="43" name="Gerader Verbinder 42"/>
          <p:cNvCxnSpPr/>
          <p:nvPr/>
        </p:nvCxnSpPr>
        <p:spPr>
          <a:xfrm>
            <a:off x="5669616" y="2558490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/>
        </p:nvCxnSpPr>
        <p:spPr>
          <a:xfrm>
            <a:off x="4583857" y="2295922"/>
            <a:ext cx="0" cy="27255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platzhalter 12"/>
          <p:cNvSpPr>
            <a:spLocks noGrp="1"/>
          </p:cNvSpPr>
          <p:nvPr>
            <p:ph type="body" sz="quarter" idx="28"/>
          </p:nvPr>
        </p:nvSpPr>
        <p:spPr>
          <a:xfrm>
            <a:off x="2480885" y="2777263"/>
            <a:ext cx="2005200" cy="52791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4652585" y="2777263"/>
            <a:ext cx="2005200" cy="527912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72000" tIns="36000" rIns="72000" bIns="36000" rtlCol="0" anchor="ctr" anchorCtr="1">
            <a:noAutofit/>
          </a:bodyPr>
          <a:lstStyle>
            <a:lvl1pPr marL="171450" indent="-17145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AT" sz="1200" cap="all" baseline="0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6852382" y="2777263"/>
            <a:ext cx="2005200" cy="527912"/>
          </a:xfrm>
          <a:solidFill>
            <a:schemeClr val="accent3"/>
          </a:solidFill>
        </p:spPr>
        <p:txBody>
          <a:bodyPr wrap="square" lIns="72000" tIns="36000" rIns="72000" bIns="3600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12"/>
          <p:cNvSpPr>
            <a:spLocks noGrp="1"/>
          </p:cNvSpPr>
          <p:nvPr>
            <p:ph type="body" sz="quarter" idx="37"/>
          </p:nvPr>
        </p:nvSpPr>
        <p:spPr>
          <a:xfrm rot="16200000">
            <a:off x="-304062" y="3996475"/>
            <a:ext cx="1257300" cy="122350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38"/>
          </p:nvPr>
        </p:nvSpPr>
        <p:spPr>
          <a:xfrm rot="16200000">
            <a:off x="-257627" y="5512140"/>
            <a:ext cx="1174206" cy="132125"/>
          </a:xfrm>
          <a:noFill/>
        </p:spPr>
        <p:txBody>
          <a:bodyPr lIns="72000" tIns="0" rIns="72000" bIns="0" anchor="t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900" b="1" cap="none" baseline="0">
                <a:solidFill>
                  <a:schemeClr val="tx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Diagrammplatzhalter 7"/>
          <p:cNvSpPr>
            <a:spLocks noGrp="1"/>
          </p:cNvSpPr>
          <p:nvPr>
            <p:ph type="chart" sz="quarter" idx="39"/>
          </p:nvPr>
        </p:nvSpPr>
        <p:spPr>
          <a:xfrm>
            <a:off x="24808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1" name="Diagrammplatzhalter 7"/>
          <p:cNvSpPr>
            <a:spLocks noGrp="1"/>
          </p:cNvSpPr>
          <p:nvPr>
            <p:ph type="chart" sz="quarter" idx="40"/>
          </p:nvPr>
        </p:nvSpPr>
        <p:spPr>
          <a:xfrm>
            <a:off x="24808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2" name="Diagrammplatzhalter 7"/>
          <p:cNvSpPr>
            <a:spLocks noGrp="1"/>
          </p:cNvSpPr>
          <p:nvPr>
            <p:ph type="chart" sz="quarter" idx="41"/>
          </p:nvPr>
        </p:nvSpPr>
        <p:spPr>
          <a:xfrm>
            <a:off x="4652585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4" name="Diagrammplatzhalter 7"/>
          <p:cNvSpPr>
            <a:spLocks noGrp="1"/>
          </p:cNvSpPr>
          <p:nvPr>
            <p:ph type="chart" sz="quarter" idx="42"/>
          </p:nvPr>
        </p:nvSpPr>
        <p:spPr>
          <a:xfrm>
            <a:off x="4652585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Diagrammplatzhalter 7"/>
          <p:cNvSpPr>
            <a:spLocks noGrp="1"/>
          </p:cNvSpPr>
          <p:nvPr>
            <p:ph type="chart" sz="quarter" idx="43"/>
          </p:nvPr>
        </p:nvSpPr>
        <p:spPr>
          <a:xfrm>
            <a:off x="6852382" y="3429000"/>
            <a:ext cx="2005200" cy="126682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6" name="Diagrammplatzhalter 7"/>
          <p:cNvSpPr>
            <a:spLocks noGrp="1"/>
          </p:cNvSpPr>
          <p:nvPr>
            <p:ph type="chart" sz="quarter" idx="44"/>
          </p:nvPr>
        </p:nvSpPr>
        <p:spPr>
          <a:xfrm>
            <a:off x="6852382" y="4860048"/>
            <a:ext cx="2005200" cy="126682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 dirty="0"/>
            </a:lvl1pPr>
          </a:lstStyle>
          <a:p>
            <a:pPr marL="0" lv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73" name="Freihandform 6"/>
          <p:cNvSpPr/>
          <p:nvPr/>
        </p:nvSpPr>
        <p:spPr>
          <a:xfrm>
            <a:off x="1291480" y="2560712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Freihandform 6"/>
          <p:cNvSpPr/>
          <p:nvPr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0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sp>
        <p:nvSpPr>
          <p:cNvPr id="49" name="Freihandform 6"/>
          <p:cNvSpPr/>
          <p:nvPr userDrawn="1"/>
        </p:nvSpPr>
        <p:spPr>
          <a:xfrm>
            <a:off x="1291480" y="2552166"/>
            <a:ext cx="6583680" cy="223520"/>
          </a:xfrm>
          <a:custGeom>
            <a:avLst/>
            <a:gdLst>
              <a:gd name="connsiteX0" fmla="*/ 0 w 6583680"/>
              <a:gd name="connsiteY0" fmla="*/ 218440 h 223520"/>
              <a:gd name="connsiteX1" fmla="*/ 0 w 6583680"/>
              <a:gd name="connsiteY1" fmla="*/ 0 h 223520"/>
              <a:gd name="connsiteX2" fmla="*/ 6583680 w 6583680"/>
              <a:gd name="connsiteY2" fmla="*/ 0 h 223520"/>
              <a:gd name="connsiteX3" fmla="*/ 6583680 w 6583680"/>
              <a:gd name="connsiteY3" fmla="*/ 223520 h 223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83680" h="223520">
                <a:moveTo>
                  <a:pt x="0" y="218440"/>
                </a:moveTo>
                <a:lnTo>
                  <a:pt x="0" y="0"/>
                </a:lnTo>
                <a:lnTo>
                  <a:pt x="6583680" y="0"/>
                </a:lnTo>
                <a:lnTo>
                  <a:pt x="6583680" y="223520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56" name="Gerader Verbinder 45"/>
          <p:cNvCxnSpPr/>
          <p:nvPr userDrawn="1"/>
        </p:nvCxnSpPr>
        <p:spPr>
          <a:xfrm>
            <a:off x="282732" y="4777937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3"/>
          <p:cNvCxnSpPr/>
          <p:nvPr userDrawn="1"/>
        </p:nvCxnSpPr>
        <p:spPr>
          <a:xfrm>
            <a:off x="2489199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/>
          <p:cNvCxnSpPr/>
          <p:nvPr userDrawn="1"/>
        </p:nvCxnSpPr>
        <p:spPr>
          <a:xfrm>
            <a:off x="4670424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61"/>
          <p:cNvCxnSpPr/>
          <p:nvPr userDrawn="1"/>
        </p:nvCxnSpPr>
        <p:spPr>
          <a:xfrm>
            <a:off x="6852382" y="4777936"/>
            <a:ext cx="20052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561620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tur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8DBF8-6C51-44BC-AE2F-71860FCD3DEA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2907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291600" y="2544763"/>
            <a:ext cx="2005200" cy="153007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78869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1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668813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858756" y="2544763"/>
            <a:ext cx="2005200" cy="153007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76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395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2500561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6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2749327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7" name="Textplatzhalter 12"/>
          <p:cNvSpPr>
            <a:spLocks noGrp="1"/>
          </p:cNvSpPr>
          <p:nvPr>
            <p:ph type="body" sz="quarter" idx="22"/>
          </p:nvPr>
        </p:nvSpPr>
        <p:spPr>
          <a:xfrm>
            <a:off x="46817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9305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4"/>
          </p:nvPr>
        </p:nvSpPr>
        <p:spPr>
          <a:xfrm>
            <a:off x="6853486" y="4530725"/>
            <a:ext cx="2003425" cy="334963"/>
          </a:xfrm>
          <a:noFill/>
        </p:spPr>
        <p:txBody>
          <a:bodyPr lIns="72000" rIns="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/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7102252" y="4178165"/>
            <a:ext cx="1512194" cy="334963"/>
          </a:xfrm>
          <a:solidFill>
            <a:schemeClr val="tx2"/>
          </a:solidFill>
        </p:spPr>
        <p:txBody>
          <a:bodyPr lIns="72000" rIns="72000" anchor="ctr" anchorCtr="0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Numb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pic>
        <p:nvPicPr>
          <p:cNvPr id="2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735" y="1607419"/>
            <a:ext cx="536275" cy="602671"/>
          </a:xfrm>
          <a:prstGeom prst="rect">
            <a:avLst/>
          </a:prstGeom>
        </p:spPr>
      </p:pic>
      <p:cxnSp>
        <p:nvCxnSpPr>
          <p:cNvPr id="24" name="Gerader Verbinder 8"/>
          <p:cNvCxnSpPr/>
          <p:nvPr userDrawn="1"/>
        </p:nvCxnSpPr>
        <p:spPr>
          <a:xfrm>
            <a:off x="288925" y="2381250"/>
            <a:ext cx="856932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620325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3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AEBBD-AC5E-4698-A169-10AEF6D8758F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9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15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69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6117227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120827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126227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198180" y="1628774"/>
            <a:ext cx="2736000" cy="358776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201780" y="1987492"/>
            <a:ext cx="27288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8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207180" y="4779841"/>
            <a:ext cx="2718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9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0" name="Textplatzhalt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3201573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50" name="Textplatzhalt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6133699" y="3155950"/>
            <a:ext cx="2715252" cy="1530350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45" name="Rechteck 2"/>
          <p:cNvSpPr/>
          <p:nvPr userDrawn="1"/>
        </p:nvSpPr>
        <p:spPr>
          <a:xfrm>
            <a:off x="2875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1" name="Rechteck 43"/>
          <p:cNvSpPr/>
          <p:nvPr userDrawn="1"/>
        </p:nvSpPr>
        <p:spPr>
          <a:xfrm>
            <a:off x="6116802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2" name="Rechteck 48"/>
          <p:cNvSpPr/>
          <p:nvPr userDrawn="1"/>
        </p:nvSpPr>
        <p:spPr>
          <a:xfrm>
            <a:off x="3197755" y="1958196"/>
            <a:ext cx="2736850" cy="41759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60361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4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8616D-BF26-4D2D-A112-267FD6842632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6790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0390" y="1976824"/>
            <a:ext cx="1998000" cy="9848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390" y="4780012"/>
            <a:ext cx="1980000" cy="13430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4" name="Textplatzhalter 12"/>
          <p:cNvSpPr>
            <a:spLocks noGrp="1"/>
          </p:cNvSpPr>
          <p:nvPr>
            <p:ph type="body" sz="quarter" idx="30"/>
          </p:nvPr>
        </p:nvSpPr>
        <p:spPr>
          <a:xfrm>
            <a:off x="6854953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6858553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6867553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4665668" y="1624744"/>
            <a:ext cx="2005200" cy="3492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4669268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4678268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5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2467592" y="1624744"/>
            <a:ext cx="2005200" cy="358898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471192" y="1976824"/>
            <a:ext cx="1998000" cy="98488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0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480192" y="4780012"/>
            <a:ext cx="1980000" cy="13430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4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1" name="Textplatzhalter 12"/>
          <p:cNvSpPr>
            <a:spLocks noGrp="1"/>
          </p:cNvSpPr>
          <p:nvPr>
            <p:ph type="body" sz="quarter" idx="42" hasCustomPrompt="1"/>
          </p:nvPr>
        </p:nvSpPr>
        <p:spPr>
          <a:xfrm>
            <a:off x="2491211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2" name="Textplatzhalter 12"/>
          <p:cNvSpPr>
            <a:spLocks noGrp="1"/>
          </p:cNvSpPr>
          <p:nvPr>
            <p:ph type="body" sz="quarter" idx="43" hasCustomPrompt="1"/>
          </p:nvPr>
        </p:nvSpPr>
        <p:spPr>
          <a:xfrm>
            <a:off x="468274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3" name="Textplatzhalter 12"/>
          <p:cNvSpPr>
            <a:spLocks noGrp="1"/>
          </p:cNvSpPr>
          <p:nvPr>
            <p:ph type="body" sz="quarter" idx="44" hasCustomPrompt="1"/>
          </p:nvPr>
        </p:nvSpPr>
        <p:spPr>
          <a:xfrm>
            <a:off x="6866729" y="3166392"/>
            <a:ext cx="1974989" cy="1519907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65" name="Rechteck 2"/>
          <p:cNvSpPr/>
          <p:nvPr userDrawn="1"/>
        </p:nvSpPr>
        <p:spPr>
          <a:xfrm>
            <a:off x="286790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6" name="Rechteck 22"/>
          <p:cNvSpPr/>
          <p:nvPr userDrawn="1"/>
        </p:nvSpPr>
        <p:spPr>
          <a:xfrm>
            <a:off x="6854953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7" name="Rechteck 27"/>
          <p:cNvSpPr/>
          <p:nvPr userDrawn="1"/>
        </p:nvSpPr>
        <p:spPr>
          <a:xfrm>
            <a:off x="4665668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68" name="Rechteck 33"/>
          <p:cNvSpPr/>
          <p:nvPr userDrawn="1"/>
        </p:nvSpPr>
        <p:spPr>
          <a:xfrm>
            <a:off x="2467592" y="1950720"/>
            <a:ext cx="2005200" cy="41833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1224000" rIns="144000" bIns="108000" rtlCol="0" anchor="t" anchorCtr="0">
            <a:noAutofit/>
          </a:bodyPr>
          <a:lstStyle/>
          <a:p>
            <a:pPr>
              <a:lnSpc>
                <a:spcPts val="16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02649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-columns 5 - pics &amp; tex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F89366-5B56-499E-BA6A-1F79747195AB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887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8887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29"/>
          </p:nvPr>
        </p:nvSpPr>
        <p:spPr>
          <a:xfrm>
            <a:off x="29967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31"/>
          </p:nvPr>
        </p:nvSpPr>
        <p:spPr>
          <a:xfrm>
            <a:off x="7294567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7294567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Diagrammplatzhalter 11"/>
          <p:cNvSpPr>
            <a:spLocks noGrp="1"/>
          </p:cNvSpPr>
          <p:nvPr>
            <p:ph type="chart" sz="quarter" idx="33"/>
          </p:nvPr>
        </p:nvSpPr>
        <p:spPr>
          <a:xfrm>
            <a:off x="7305367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7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37864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7864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2" name="Diagrammplatzhalter 11"/>
          <p:cNvSpPr>
            <a:spLocks noGrp="1"/>
          </p:cNvSpPr>
          <p:nvPr>
            <p:ph type="chart" sz="quarter" idx="37"/>
          </p:nvPr>
        </p:nvSpPr>
        <p:spPr>
          <a:xfrm>
            <a:off x="37972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39"/>
          </p:nvPr>
        </p:nvSpPr>
        <p:spPr>
          <a:xfrm>
            <a:off x="203385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2033855" y="2093397"/>
            <a:ext cx="1569600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57" name="Diagrammplatzhalter 11"/>
          <p:cNvSpPr>
            <a:spLocks noGrp="1"/>
          </p:cNvSpPr>
          <p:nvPr>
            <p:ph type="chart" sz="quarter" idx="41"/>
          </p:nvPr>
        </p:nvSpPr>
        <p:spPr>
          <a:xfrm>
            <a:off x="204465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0" name="Textplatzhalter 12"/>
          <p:cNvSpPr>
            <a:spLocks noGrp="1"/>
          </p:cNvSpPr>
          <p:nvPr>
            <p:ph type="body" sz="quarter" idx="43"/>
          </p:nvPr>
        </p:nvSpPr>
        <p:spPr>
          <a:xfrm>
            <a:off x="5532335" y="1628775"/>
            <a:ext cx="1569600" cy="460375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1">
            <a:no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Bildplatzhalter 9"/>
          <p:cNvSpPr>
            <a:spLocks noGrp="1"/>
          </p:cNvSpPr>
          <p:nvPr>
            <p:ph type="pic" sz="quarter" idx="44" hasCustomPrompt="1"/>
          </p:nvPr>
        </p:nvSpPr>
        <p:spPr>
          <a:xfrm>
            <a:off x="5532335" y="2093397"/>
            <a:ext cx="1569505" cy="609600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2" name="Diagrammplatzhalter 11"/>
          <p:cNvSpPr>
            <a:spLocks noGrp="1"/>
          </p:cNvSpPr>
          <p:nvPr>
            <p:ph type="chart" sz="quarter" idx="45"/>
          </p:nvPr>
        </p:nvSpPr>
        <p:spPr>
          <a:xfrm>
            <a:off x="5543135" y="4789170"/>
            <a:ext cx="1548000" cy="1330276"/>
          </a:xfrm>
          <a:noFill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7" name="Rechteck 26"/>
          <p:cNvSpPr/>
          <p:nvPr/>
        </p:nvSpPr>
        <p:spPr>
          <a:xfrm>
            <a:off x="7294567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37864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203385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53233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  <p:sp>
        <p:nvSpPr>
          <p:cNvPr id="32" name="Rechteck 2"/>
          <p:cNvSpPr/>
          <p:nvPr/>
        </p:nvSpPr>
        <p:spPr>
          <a:xfrm>
            <a:off x="288875" y="2060848"/>
            <a:ext cx="1569600" cy="40808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vert="horz" lIns="144000" tIns="936000" rIns="144000" bIns="108000" rtlCol="0" anchor="t" anchorCtr="0">
            <a:noAutofit/>
          </a:bodyPr>
          <a:lstStyle/>
          <a:p>
            <a:pPr>
              <a:lnSpc>
                <a:spcPts val="1800"/>
              </a:lnSpc>
              <a:spcBef>
                <a:spcPts val="850"/>
              </a:spcBef>
              <a:buClr>
                <a:srgbClr val="B30000"/>
              </a:buClr>
              <a:buSzPct val="110000"/>
              <a:buFont typeface="Arial" panose="020B0604020202020204" pitchFamily="34" charset="0"/>
              <a:buNone/>
            </a:pPr>
            <a:endParaRPr lang="en-US" sz="1400" dirty="0">
              <a:solidFill>
                <a:srgbClr val="B30000"/>
              </a:solidFill>
            </a:endParaRPr>
          </a:p>
        </p:txBody>
      </p:sp>
      <p:sp>
        <p:nvSpPr>
          <p:cNvPr id="81" name="Textplatzhalt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299675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2" name="Textplatzhalter 12"/>
          <p:cNvSpPr>
            <a:spLocks noGrp="1"/>
          </p:cNvSpPr>
          <p:nvPr>
            <p:ph type="body" sz="quarter" idx="46" hasCustomPrompt="1"/>
          </p:nvPr>
        </p:nvSpPr>
        <p:spPr>
          <a:xfrm>
            <a:off x="2045347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3" name="Textplatzhalter 12"/>
          <p:cNvSpPr>
            <a:spLocks noGrp="1"/>
          </p:cNvSpPr>
          <p:nvPr>
            <p:ph type="body" sz="quarter" idx="47" hasCustomPrompt="1"/>
          </p:nvPr>
        </p:nvSpPr>
        <p:spPr>
          <a:xfrm>
            <a:off x="379857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4" name="Textplatzhalter 12"/>
          <p:cNvSpPr>
            <a:spLocks noGrp="1"/>
          </p:cNvSpPr>
          <p:nvPr>
            <p:ph type="body" sz="quarter" idx="48" hasCustomPrompt="1"/>
          </p:nvPr>
        </p:nvSpPr>
        <p:spPr>
          <a:xfrm>
            <a:off x="5551806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85" name="Textplatzhalter 12"/>
          <p:cNvSpPr>
            <a:spLocks noGrp="1"/>
          </p:cNvSpPr>
          <p:nvPr>
            <p:ph type="body" sz="quarter" idx="49" hasCustomPrompt="1"/>
          </p:nvPr>
        </p:nvSpPr>
        <p:spPr>
          <a:xfrm>
            <a:off x="7312593" y="2901462"/>
            <a:ext cx="1548000" cy="1784838"/>
          </a:xfrm>
          <a:noFill/>
          <a:ln>
            <a:noFill/>
          </a:ln>
        </p:spPr>
        <p:txBody>
          <a:bodyPr lIns="72000" tIns="0" rIns="7200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10000"/>
              <a:buFont typeface="Arial" panose="020B0604020202020204" pitchFamily="34" charset="0"/>
              <a:buNone/>
              <a:tabLst/>
              <a:defRPr sz="1400" baseline="0">
                <a:solidFill>
                  <a:schemeClr val="tx2"/>
                </a:solidFill>
              </a:defRPr>
            </a:lvl1pPr>
            <a:lvl2pPr marL="180975" indent="-177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2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dirty="0"/>
              <a:t>Text level 1</a:t>
            </a:r>
          </a:p>
          <a:p>
            <a:pPr lvl="1"/>
            <a:r>
              <a:rPr lang="en-US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245607128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3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38"/>
          </p:nvPr>
        </p:nvSpPr>
        <p:spPr>
          <a:xfrm>
            <a:off x="292789" y="4292600"/>
            <a:ext cx="2528887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10E165-890C-4C3B-B00C-845BA0E51C31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40" y="1626434"/>
            <a:ext cx="2860694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2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5943090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6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911889" y="1626434"/>
            <a:ext cx="320029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3027363" y="2568087"/>
            <a:ext cx="251729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5876144" y="1626434"/>
            <a:ext cx="297942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Gerade Verbindung 8"/>
          <p:cNvCxnSpPr/>
          <p:nvPr/>
        </p:nvCxnSpPr>
        <p:spPr>
          <a:xfrm>
            <a:off x="2912596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585802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6"/>
          <p:cNvSpPr>
            <a:spLocks noGrp="1"/>
          </p:cNvSpPr>
          <p:nvPr>
            <p:ph type="body" sz="quarter" idx="39"/>
          </p:nvPr>
        </p:nvSpPr>
        <p:spPr>
          <a:xfrm>
            <a:off x="3027363" y="4292600"/>
            <a:ext cx="2529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40"/>
          </p:nvPr>
        </p:nvSpPr>
        <p:spPr>
          <a:xfrm>
            <a:off x="5943091" y="4292600"/>
            <a:ext cx="2530800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78451819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4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7047E-3A29-4B71-A144-C980ADA2BDF1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8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2148229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805122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4451746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3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2212021" y="1626434"/>
            <a:ext cx="240909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2286554" y="2568087"/>
            <a:ext cx="198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4397667" y="1626434"/>
            <a:ext cx="2414003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219395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6588224" y="1626434"/>
            <a:ext cx="2264631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6617908" y="2568087"/>
            <a:ext cx="1980968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53" name="Gerade Verbindung 52"/>
          <p:cNvCxnSpPr/>
          <p:nvPr/>
        </p:nvCxnSpPr>
        <p:spPr>
          <a:xfrm>
            <a:off x="435915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/>
        </p:nvCxnSpPr>
        <p:spPr>
          <a:xfrm>
            <a:off x="65253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6"/>
          <p:cNvSpPr>
            <a:spLocks noGrp="1"/>
          </p:cNvSpPr>
          <p:nvPr>
            <p:ph type="body" sz="quarter" idx="41"/>
          </p:nvPr>
        </p:nvSpPr>
        <p:spPr>
          <a:xfrm>
            <a:off x="292789" y="4292600"/>
            <a:ext cx="1798374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42"/>
          </p:nvPr>
        </p:nvSpPr>
        <p:spPr>
          <a:xfrm>
            <a:off x="2284054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43"/>
          </p:nvPr>
        </p:nvSpPr>
        <p:spPr>
          <a:xfrm>
            <a:off x="4454316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6624577" y="4292600"/>
            <a:ext cx="197737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0196302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process - 5 phases - pic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platzhalter 6"/>
          <p:cNvSpPr>
            <a:spLocks noGrp="1"/>
          </p:cNvSpPr>
          <p:nvPr>
            <p:ph type="body" sz="quarter" idx="44"/>
          </p:nvPr>
        </p:nvSpPr>
        <p:spPr>
          <a:xfrm>
            <a:off x="292789" y="4292600"/>
            <a:ext cx="1453461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E2BAD-230E-4195-9428-DBCC11E6CF45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287239" y="1626434"/>
            <a:ext cx="1708615" cy="830368"/>
          </a:xfrm>
          <a:prstGeom prst="homePlate">
            <a:avLst>
              <a:gd name="adj" fmla="val 3476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Bildplatzhalter 9"/>
          <p:cNvSpPr>
            <a:spLocks noGrp="1"/>
          </p:cNvSpPr>
          <p:nvPr>
            <p:ph type="pic" sz="quarter" idx="28" hasCustomPrompt="1"/>
          </p:nvPr>
        </p:nvSpPr>
        <p:spPr>
          <a:xfrm>
            <a:off x="296240" y="2568087"/>
            <a:ext cx="1347975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37" name="Bildplatzhalter 9"/>
          <p:cNvSpPr>
            <a:spLocks noGrp="1"/>
          </p:cNvSpPr>
          <p:nvPr>
            <p:ph type="pic" sz="quarter" idx="32" hasCustomPrompt="1"/>
          </p:nvPr>
        </p:nvSpPr>
        <p:spPr>
          <a:xfrm>
            <a:off x="3612039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1" name="Textplatzhalter 12"/>
          <p:cNvSpPr>
            <a:spLocks noGrp="1"/>
          </p:cNvSpPr>
          <p:nvPr>
            <p:ph type="body" sz="quarter" idx="35"/>
          </p:nvPr>
        </p:nvSpPr>
        <p:spPr>
          <a:xfrm>
            <a:off x="1763758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Bildplatzhalter 9"/>
          <p:cNvSpPr>
            <a:spLocks noGrp="1"/>
          </p:cNvSpPr>
          <p:nvPr>
            <p:ph type="pic" sz="quarter" idx="36" hasCustomPrompt="1"/>
          </p:nvPr>
        </p:nvSpPr>
        <p:spPr>
          <a:xfrm>
            <a:off x="1854127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45" name="Textplatzhalter 12"/>
          <p:cNvSpPr>
            <a:spLocks noGrp="1"/>
          </p:cNvSpPr>
          <p:nvPr>
            <p:ph type="body" sz="quarter" idx="37"/>
          </p:nvPr>
        </p:nvSpPr>
        <p:spPr>
          <a:xfrm>
            <a:off x="3511662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8" name="Gerade Verbindung 47"/>
          <p:cNvCxnSpPr/>
          <p:nvPr userDrawn="1"/>
        </p:nvCxnSpPr>
        <p:spPr>
          <a:xfrm>
            <a:off x="1747792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platzhalter 12"/>
          <p:cNvSpPr>
            <a:spLocks noGrp="1"/>
          </p:cNvSpPr>
          <p:nvPr>
            <p:ph type="body" sz="quarter" idx="38"/>
          </p:nvPr>
        </p:nvSpPr>
        <p:spPr>
          <a:xfrm>
            <a:off x="5259566" y="1626434"/>
            <a:ext cx="1980000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5369951" y="2568087"/>
            <a:ext cx="1548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cxnSp>
        <p:nvCxnSpPr>
          <p:cNvPr id="64" name="Gerade Verbindung 63"/>
          <p:cNvCxnSpPr/>
          <p:nvPr/>
        </p:nvCxnSpPr>
        <p:spPr>
          <a:xfrm>
            <a:off x="3506098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 userDrawn="1"/>
        </p:nvCxnSpPr>
        <p:spPr>
          <a:xfrm>
            <a:off x="7022710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platzhalter 12"/>
          <p:cNvSpPr>
            <a:spLocks noGrp="1"/>
          </p:cNvSpPr>
          <p:nvPr>
            <p:ph type="body" sz="quarter" idx="41"/>
          </p:nvPr>
        </p:nvSpPr>
        <p:spPr>
          <a:xfrm>
            <a:off x="7007469" y="1626434"/>
            <a:ext cx="1842109" cy="830368"/>
          </a:xfrm>
          <a:prstGeom prst="chevron">
            <a:avLst>
              <a:gd name="adj" fmla="val 35661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72000" tIns="0" rIns="7200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cap="all" baseline="0">
                <a:solidFill>
                  <a:schemeClr val="bg1"/>
                </a:solidFill>
              </a:defRPr>
            </a:lvl1pPr>
            <a:lvl2pPr marL="271462" indent="0">
              <a:buNone/>
              <a:defRPr sz="1400"/>
            </a:lvl2pPr>
            <a:lvl3pPr marL="442912" indent="0">
              <a:buNone/>
              <a:defRPr sz="1400"/>
            </a:lvl3pPr>
            <a:lvl4pPr marL="628650" indent="0">
              <a:buNone/>
              <a:defRPr sz="1400"/>
            </a:lvl4pPr>
            <a:lvl5pPr marL="814387" indent="0"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7" name="Gerade Verbindung 66"/>
          <p:cNvCxnSpPr/>
          <p:nvPr/>
        </p:nvCxnSpPr>
        <p:spPr>
          <a:xfrm>
            <a:off x="5264404" y="2492896"/>
            <a:ext cx="0" cy="3672954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ildplatzhalter 9"/>
          <p:cNvSpPr>
            <a:spLocks noGrp="1"/>
          </p:cNvSpPr>
          <p:nvPr>
            <p:ph type="pic" sz="quarter" idx="43" hasCustomPrompt="1"/>
          </p:nvPr>
        </p:nvSpPr>
        <p:spPr>
          <a:xfrm>
            <a:off x="7127862" y="2568087"/>
            <a:ext cx="1440000" cy="15809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45"/>
          </p:nvPr>
        </p:nvSpPr>
        <p:spPr>
          <a:xfrm>
            <a:off x="1854171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46"/>
          </p:nvPr>
        </p:nvSpPr>
        <p:spPr>
          <a:xfrm>
            <a:off x="3605334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6"/>
          <p:cNvSpPr>
            <a:spLocks noGrp="1"/>
          </p:cNvSpPr>
          <p:nvPr>
            <p:ph type="body" sz="quarter" idx="47"/>
          </p:nvPr>
        </p:nvSpPr>
        <p:spPr>
          <a:xfrm>
            <a:off x="5365122" y="4292600"/>
            <a:ext cx="1650383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48"/>
          </p:nvPr>
        </p:nvSpPr>
        <p:spPr>
          <a:xfrm>
            <a:off x="7133537" y="4292600"/>
            <a:ext cx="1542919" cy="1846263"/>
          </a:xfrm>
        </p:spPr>
        <p:txBody>
          <a:bodyPr/>
          <a:lstStyle>
            <a:lvl1pPr marL="180975" indent="-180975">
              <a:lnSpc>
                <a:spcPct val="10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88925" y="6202790"/>
            <a:ext cx="4190400" cy="1191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800" i="1"/>
            </a:lvl1pPr>
            <a:lvl2pPr marL="27146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2pPr>
            <a:lvl3pPr marL="442912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3pPr>
            <a:lvl4pPr marL="628650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4pPr>
            <a:lvl5pPr marL="814387" indent="0">
              <a:lnSpc>
                <a:spcPct val="100000"/>
              </a:lnSpc>
              <a:spcAft>
                <a:spcPts val="0"/>
              </a:spcAft>
              <a:buFontTx/>
              <a:buNone/>
              <a:defRPr sz="800"/>
            </a:lvl5pPr>
          </a:lstStyle>
          <a:p>
            <a:pPr lvl="0"/>
            <a:r>
              <a:rPr lang="en-US" dirty="0"/>
              <a:t>Sources</a:t>
            </a:r>
          </a:p>
        </p:txBody>
      </p:sp>
    </p:spTree>
    <p:extLst>
      <p:ext uri="{BB962C8B-B14F-4D97-AF65-F5344CB8AC3E}">
        <p14:creationId xmlns:p14="http://schemas.microsoft.com/office/powerpoint/2010/main" val="296120796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DDFF4-A2AB-4764-A3CE-715580F2787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807438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-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70247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the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2900"/>
            <a:ext cx="9144000" cy="52390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9438" y="2028825"/>
            <a:ext cx="3902075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79437" y="495300"/>
            <a:ext cx="5864771" cy="542925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Insert contact data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82196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-gridlines - pls don'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Raster </a:t>
            </a:r>
            <a:r>
              <a:rPr lang="en-US" dirty="0" err="1"/>
              <a:t>nur</a:t>
            </a:r>
            <a:r>
              <a:rPr lang="en-US" dirty="0"/>
              <a:t> 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neuerlichen</a:t>
            </a:r>
            <a:r>
              <a:rPr lang="en-US" dirty="0"/>
              <a:t> </a:t>
            </a:r>
            <a:r>
              <a:rPr lang="en-US" dirty="0" err="1"/>
              <a:t>Ausrichtung</a:t>
            </a:r>
            <a:r>
              <a:rPr lang="en-US" dirty="0"/>
              <a:t> der </a:t>
            </a:r>
            <a:r>
              <a:rPr lang="en-US" dirty="0" err="1"/>
              <a:t>Hilfslinien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verwenden</a:t>
            </a:r>
            <a:r>
              <a:rPr lang="en-US" dirty="0"/>
              <a:t>!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728B82-505B-44E6-AD30-0FE5D7FE48C8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" name="Mittelkreuz"/>
          <p:cNvGrpSpPr/>
          <p:nvPr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37" name="Mittellinie vertikal"/>
            <p:cNvCxnSpPr/>
            <p:nvPr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9" name="Mittellinie horizontal"/>
            <p:cNvCxnSpPr/>
            <p:nvPr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99" name="Rechteckige Legende 16"/>
            <p:cNvSpPr/>
            <p:nvPr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 err="1">
                  <a:solidFill>
                    <a:prstClr val="black"/>
                  </a:solidFill>
                </a:rPr>
                <a:t>Abstand</a:t>
              </a:r>
              <a:r>
                <a:rPr lang="en-US" sz="1050" dirty="0">
                  <a:solidFill>
                    <a:prstClr val="black"/>
                  </a:solidFill>
                </a:rPr>
                <a:t> der </a:t>
              </a:r>
              <a:r>
                <a:rPr lang="en-US" sz="1050" dirty="0" err="1">
                  <a:solidFill>
                    <a:prstClr val="black"/>
                  </a:solidFill>
                </a:rPr>
                <a:t>Hilfslinien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vom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Mittelpunkt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weg</a:t>
              </a:r>
              <a:r>
                <a:rPr lang="en-US" sz="1050" dirty="0">
                  <a:solidFill>
                    <a:prstClr val="black"/>
                  </a:solidFill>
                </a:rPr>
                <a:t> </a:t>
              </a:r>
              <a:r>
                <a:rPr lang="en-US" sz="1050" dirty="0" err="1">
                  <a:solidFill>
                    <a:prstClr val="black"/>
                  </a:solidFill>
                </a:rPr>
                <a:t>gemessen</a:t>
              </a:r>
              <a:endParaRPr lang="en-US" sz="105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93" name="Links horizontal"/>
          <p:cNvGrpSpPr/>
          <p:nvPr userDrawn="1"/>
        </p:nvGrpSpPr>
        <p:grpSpPr>
          <a:xfrm>
            <a:off x="284950" y="1862906"/>
            <a:ext cx="4372144" cy="1153658"/>
            <a:chOff x="284950" y="1862906"/>
            <a:chExt cx="4372144" cy="1153658"/>
          </a:xfrm>
        </p:grpSpPr>
        <p:cxnSp>
          <p:nvCxnSpPr>
            <p:cNvPr id="94" name="Gerade Verbindung mit Pfeil 6"/>
            <p:cNvCxnSpPr/>
            <p:nvPr/>
          </p:nvCxnSpPr>
          <p:spPr>
            <a:xfrm flipH="1">
              <a:off x="4483100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5" name="Textfeld 15"/>
            <p:cNvSpPr txBox="1"/>
            <p:nvPr userDrawn="1"/>
          </p:nvSpPr>
          <p:spPr>
            <a:xfrm>
              <a:off x="4270450" y="2801120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25</a:t>
              </a:r>
            </a:p>
          </p:txBody>
        </p:sp>
        <p:cxnSp>
          <p:nvCxnSpPr>
            <p:cNvPr id="96" name="Gerade Verbindung mit Pfeil 35"/>
            <p:cNvCxnSpPr/>
            <p:nvPr userDrawn="1"/>
          </p:nvCxnSpPr>
          <p:spPr>
            <a:xfrm flipH="1">
              <a:off x="3205163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7" name="Textfeld 90"/>
            <p:cNvSpPr txBox="1"/>
            <p:nvPr userDrawn="1"/>
          </p:nvSpPr>
          <p:spPr>
            <a:xfrm flipH="1">
              <a:off x="3377476" y="2610619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8</a:t>
              </a:r>
            </a:p>
          </p:txBody>
        </p:sp>
        <p:cxnSp>
          <p:nvCxnSpPr>
            <p:cNvPr id="98" name="Gerade Verbindung mit Pfeil 37"/>
            <p:cNvCxnSpPr/>
            <p:nvPr userDrawn="1"/>
          </p:nvCxnSpPr>
          <p:spPr>
            <a:xfrm flipH="1">
              <a:off x="302260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99" name="Textfeld 77"/>
            <p:cNvSpPr txBox="1"/>
            <p:nvPr userDrawn="1"/>
          </p:nvSpPr>
          <p:spPr>
            <a:xfrm>
              <a:off x="3213008" y="2467744"/>
              <a:ext cx="3289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4,3</a:t>
              </a:r>
            </a:p>
          </p:txBody>
        </p:sp>
        <p:cxnSp>
          <p:nvCxnSpPr>
            <p:cNvPr id="100" name="Gerade Verbindung mit Pfeil 66"/>
            <p:cNvCxnSpPr/>
            <p:nvPr userDrawn="1"/>
          </p:nvCxnSpPr>
          <p:spPr>
            <a:xfrm flipH="1">
              <a:off x="174625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1" name="Textfeld 76"/>
            <p:cNvSpPr txBox="1"/>
            <p:nvPr userDrawn="1"/>
          </p:nvSpPr>
          <p:spPr>
            <a:xfrm>
              <a:off x="1965875" y="2120081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85</a:t>
              </a:r>
            </a:p>
          </p:txBody>
        </p:sp>
        <p:cxnSp>
          <p:nvCxnSpPr>
            <p:cNvPr id="102" name="Gerade Verbindung mit Pfeil 67"/>
            <p:cNvCxnSpPr/>
            <p:nvPr userDrawn="1"/>
          </p:nvCxnSpPr>
          <p:spPr>
            <a:xfrm flipH="1">
              <a:off x="1567181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03" name="Textfeld 75"/>
            <p:cNvSpPr txBox="1"/>
            <p:nvPr userDrawn="1"/>
          </p:nvSpPr>
          <p:spPr>
            <a:xfrm>
              <a:off x="1711781" y="1991494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8,35</a:t>
              </a:r>
            </a:p>
          </p:txBody>
        </p:sp>
        <p:cxnSp>
          <p:nvCxnSpPr>
            <p:cNvPr id="104" name="Gerade Verbindung mit Pfeil 68"/>
            <p:cNvCxnSpPr/>
            <p:nvPr userDrawn="1"/>
          </p:nvCxnSpPr>
          <p:spPr>
            <a:xfrm flipH="1">
              <a:off x="28495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17" name="Textfeld 74"/>
            <p:cNvSpPr txBox="1"/>
            <p:nvPr userDrawn="1"/>
          </p:nvSpPr>
          <p:spPr>
            <a:xfrm>
              <a:off x="468488" y="1862906"/>
              <a:ext cx="3866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1,9</a:t>
              </a:r>
            </a:p>
          </p:txBody>
        </p:sp>
      </p:grpSp>
      <p:grpSp>
        <p:nvGrpSpPr>
          <p:cNvPr id="118" name="Rechts horizontal"/>
          <p:cNvGrpSpPr/>
          <p:nvPr userDrawn="1"/>
        </p:nvGrpSpPr>
        <p:grpSpPr>
          <a:xfrm>
            <a:off x="4570080" y="1862906"/>
            <a:ext cx="4285466" cy="1153658"/>
            <a:chOff x="4570080" y="1862906"/>
            <a:chExt cx="4285466" cy="1153658"/>
          </a:xfrm>
        </p:grpSpPr>
        <p:cxnSp>
          <p:nvCxnSpPr>
            <p:cNvPr id="119" name="Gerade Verbindung mit Pfeil 84"/>
            <p:cNvCxnSpPr/>
            <p:nvPr userDrawn="1"/>
          </p:nvCxnSpPr>
          <p:spPr>
            <a:xfrm>
              <a:off x="4570080" y="1903487"/>
              <a:ext cx="4285466" cy="1334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0" name="Textfeld 86"/>
            <p:cNvSpPr txBox="1"/>
            <p:nvPr userDrawn="1"/>
          </p:nvSpPr>
          <p:spPr>
            <a:xfrm flipH="1">
              <a:off x="8220426" y="1862906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11,9</a:t>
              </a:r>
            </a:p>
          </p:txBody>
        </p:sp>
        <p:cxnSp>
          <p:nvCxnSpPr>
            <p:cNvPr id="121" name="Gerade Verbindung mit Pfeil 83"/>
            <p:cNvCxnSpPr/>
            <p:nvPr userDrawn="1"/>
          </p:nvCxnSpPr>
          <p:spPr>
            <a:xfrm>
              <a:off x="4570080" y="2036837"/>
              <a:ext cx="300323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2" name="Textfeld 87"/>
            <p:cNvSpPr txBox="1"/>
            <p:nvPr userDrawn="1"/>
          </p:nvSpPr>
          <p:spPr>
            <a:xfrm flipH="1">
              <a:off x="7006560" y="1991494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8,35</a:t>
              </a:r>
            </a:p>
          </p:txBody>
        </p:sp>
        <p:cxnSp>
          <p:nvCxnSpPr>
            <p:cNvPr id="123" name="Gerade Verbindung mit Pfeil 82"/>
            <p:cNvCxnSpPr/>
            <p:nvPr userDrawn="1"/>
          </p:nvCxnSpPr>
          <p:spPr>
            <a:xfrm>
              <a:off x="4570080" y="2170187"/>
              <a:ext cx="2824164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27" name="Textfeld 88"/>
            <p:cNvSpPr txBox="1"/>
            <p:nvPr userDrawn="1"/>
          </p:nvSpPr>
          <p:spPr>
            <a:xfrm flipH="1">
              <a:off x="6726441" y="2120081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7,85</a:t>
              </a:r>
            </a:p>
          </p:txBody>
        </p:sp>
        <p:cxnSp>
          <p:nvCxnSpPr>
            <p:cNvPr id="130" name="Gerade Verbindung mit Pfeil 81"/>
            <p:cNvCxnSpPr/>
            <p:nvPr userDrawn="1"/>
          </p:nvCxnSpPr>
          <p:spPr>
            <a:xfrm>
              <a:off x="4570080" y="2519437"/>
              <a:ext cx="1547813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51" name="Textfeld 89"/>
            <p:cNvSpPr txBox="1"/>
            <p:nvPr userDrawn="1"/>
          </p:nvSpPr>
          <p:spPr>
            <a:xfrm flipH="1">
              <a:off x="5550235" y="2467744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4,3</a:t>
              </a:r>
            </a:p>
          </p:txBody>
        </p:sp>
        <p:cxnSp>
          <p:nvCxnSpPr>
            <p:cNvPr id="166" name="Gerade Verbindung mit Pfeil 80"/>
            <p:cNvCxnSpPr/>
            <p:nvPr userDrawn="1"/>
          </p:nvCxnSpPr>
          <p:spPr>
            <a:xfrm>
              <a:off x="4570080" y="2636912"/>
              <a:ext cx="136525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4" name="Textfeld 90"/>
            <p:cNvSpPr txBox="1"/>
            <p:nvPr userDrawn="1"/>
          </p:nvSpPr>
          <p:spPr>
            <a:xfrm flipH="1">
              <a:off x="5336325" y="2610619"/>
              <a:ext cx="36260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3,8</a:t>
              </a:r>
            </a:p>
          </p:txBody>
        </p:sp>
        <p:cxnSp>
          <p:nvCxnSpPr>
            <p:cNvPr id="186" name="Gerade Verbindung mit Pfeil 79"/>
            <p:cNvCxnSpPr/>
            <p:nvPr userDrawn="1"/>
          </p:nvCxnSpPr>
          <p:spPr>
            <a:xfrm>
              <a:off x="4581832" y="2780928"/>
              <a:ext cx="88900" cy="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7" name="Textfeld 85"/>
            <p:cNvSpPr txBox="1"/>
            <p:nvPr userDrawn="1"/>
          </p:nvSpPr>
          <p:spPr>
            <a:xfrm flipH="1">
              <a:off x="4570080" y="2801120"/>
              <a:ext cx="420308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-0,25</a:t>
              </a:r>
            </a:p>
          </p:txBody>
        </p:sp>
      </p:grpSp>
      <p:grpSp>
        <p:nvGrpSpPr>
          <p:cNvPr id="201" name="Unten vertikal"/>
          <p:cNvGrpSpPr/>
          <p:nvPr userDrawn="1"/>
        </p:nvGrpSpPr>
        <p:grpSpPr>
          <a:xfrm>
            <a:off x="1928739" y="3429000"/>
            <a:ext cx="979652" cy="2706853"/>
            <a:chOff x="1928739" y="3429000"/>
            <a:chExt cx="979652" cy="2706853"/>
          </a:xfrm>
        </p:grpSpPr>
        <p:cxnSp>
          <p:nvCxnSpPr>
            <p:cNvPr id="202" name="Gerade Verbindung mit Pfeil 102"/>
            <p:cNvCxnSpPr/>
            <p:nvPr userDrawn="1"/>
          </p:nvCxnSpPr>
          <p:spPr>
            <a:xfrm>
              <a:off x="2875434" y="3429000"/>
              <a:ext cx="0" cy="270685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3" name="Textfeld 116"/>
            <p:cNvSpPr txBox="1"/>
            <p:nvPr userDrawn="1"/>
          </p:nvSpPr>
          <p:spPr>
            <a:xfrm>
              <a:off x="1928739" y="3466610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12</a:t>
              </a:r>
            </a:p>
          </p:txBody>
        </p:sp>
        <p:cxnSp>
          <p:nvCxnSpPr>
            <p:cNvPr id="204" name="Gerade Verbindung mit Pfeil 96"/>
            <p:cNvCxnSpPr/>
            <p:nvPr userDrawn="1"/>
          </p:nvCxnSpPr>
          <p:spPr>
            <a:xfrm>
              <a:off x="2011185" y="3429000"/>
              <a:ext cx="0" cy="40291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5" name="Textfeld 117"/>
            <p:cNvSpPr txBox="1"/>
            <p:nvPr userDrawn="1"/>
          </p:nvSpPr>
          <p:spPr>
            <a:xfrm>
              <a:off x="2096786" y="363437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37</a:t>
              </a:r>
            </a:p>
          </p:txBody>
        </p:sp>
        <p:cxnSp>
          <p:nvCxnSpPr>
            <p:cNvPr id="206" name="Gerade Verbindung mit Pfeil 97"/>
            <p:cNvCxnSpPr/>
            <p:nvPr userDrawn="1"/>
          </p:nvCxnSpPr>
          <p:spPr>
            <a:xfrm>
              <a:off x="2165335" y="3429000"/>
              <a:ext cx="0" cy="4937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7" name="Textfeld 118"/>
            <p:cNvSpPr txBox="1"/>
            <p:nvPr/>
          </p:nvSpPr>
          <p:spPr>
            <a:xfrm>
              <a:off x="2115836" y="43265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25</a:t>
              </a:r>
            </a:p>
          </p:txBody>
        </p:sp>
        <p:cxnSp>
          <p:nvCxnSpPr>
            <p:cNvPr id="208" name="Gerade Verbindung mit Pfeil 98"/>
            <p:cNvCxnSpPr/>
            <p:nvPr userDrawn="1"/>
          </p:nvCxnSpPr>
          <p:spPr>
            <a:xfrm>
              <a:off x="2319485" y="3429000"/>
              <a:ext cx="0" cy="117395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9" name="Textfeld 119"/>
            <p:cNvSpPr txBox="1"/>
            <p:nvPr userDrawn="1"/>
          </p:nvSpPr>
          <p:spPr>
            <a:xfrm>
              <a:off x="2395236" y="444082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5</a:t>
              </a:r>
            </a:p>
          </p:txBody>
        </p:sp>
        <p:cxnSp>
          <p:nvCxnSpPr>
            <p:cNvPr id="210" name="Gerade Verbindung mit Pfeil 99"/>
            <p:cNvCxnSpPr/>
            <p:nvPr userDrawn="1"/>
          </p:nvCxnSpPr>
          <p:spPr>
            <a:xfrm>
              <a:off x="2473635" y="3429000"/>
              <a:ext cx="0" cy="126206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1" name="Textfeld 120"/>
            <p:cNvSpPr txBox="1"/>
            <p:nvPr userDrawn="1"/>
          </p:nvSpPr>
          <p:spPr>
            <a:xfrm>
              <a:off x="2420255" y="504170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38</a:t>
              </a:r>
            </a:p>
          </p:txBody>
        </p:sp>
        <p:cxnSp>
          <p:nvCxnSpPr>
            <p:cNvPr id="212" name="Gerade Verbindung mit Pfeil 100"/>
            <p:cNvCxnSpPr/>
            <p:nvPr userDrawn="1"/>
          </p:nvCxnSpPr>
          <p:spPr>
            <a:xfrm>
              <a:off x="2627784" y="3429000"/>
              <a:ext cx="0" cy="1941513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3" name="Textfeld 121"/>
            <p:cNvSpPr txBox="1"/>
            <p:nvPr userDrawn="1"/>
          </p:nvSpPr>
          <p:spPr>
            <a:xfrm>
              <a:off x="2686955" y="520176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63</a:t>
              </a:r>
            </a:p>
          </p:txBody>
        </p:sp>
        <p:cxnSp>
          <p:nvCxnSpPr>
            <p:cNvPr id="214" name="Gerade Verbindung mit Pfeil 101"/>
            <p:cNvCxnSpPr/>
            <p:nvPr userDrawn="1"/>
          </p:nvCxnSpPr>
          <p:spPr>
            <a:xfrm>
              <a:off x="2756371" y="3429000"/>
              <a:ext cx="0" cy="2032000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5" name="Textfeld 122"/>
            <p:cNvSpPr txBox="1"/>
            <p:nvPr userDrawn="1"/>
          </p:nvSpPr>
          <p:spPr>
            <a:xfrm>
              <a:off x="2655205" y="5906612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7,51</a:t>
              </a:r>
            </a:p>
          </p:txBody>
        </p:sp>
      </p:grpSp>
      <p:grpSp>
        <p:nvGrpSpPr>
          <p:cNvPr id="216" name="Oben vertikal"/>
          <p:cNvGrpSpPr/>
          <p:nvPr userDrawn="1"/>
        </p:nvGrpSpPr>
        <p:grpSpPr>
          <a:xfrm>
            <a:off x="417195" y="1622737"/>
            <a:ext cx="883952" cy="1806266"/>
            <a:chOff x="417195" y="1622737"/>
            <a:chExt cx="883952" cy="1806266"/>
          </a:xfrm>
        </p:grpSpPr>
        <p:cxnSp>
          <p:nvCxnSpPr>
            <p:cNvPr id="217" name="Gerade Verbindung mit Pfeil 22"/>
            <p:cNvCxnSpPr/>
            <p:nvPr/>
          </p:nvCxnSpPr>
          <p:spPr>
            <a:xfrm flipV="1">
              <a:off x="656527" y="3157525"/>
              <a:ext cx="0" cy="271475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18" name="Textfeld 78"/>
            <p:cNvSpPr txBox="1"/>
            <p:nvPr userDrawn="1"/>
          </p:nvSpPr>
          <p:spPr>
            <a:xfrm>
              <a:off x="417195" y="3276985"/>
              <a:ext cx="2501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0,76</a:t>
              </a:r>
            </a:p>
          </p:txBody>
        </p:sp>
        <p:cxnSp>
          <p:nvCxnSpPr>
            <p:cNvPr id="219" name="Gerade Verbindung mit Pfeil 92"/>
            <p:cNvCxnSpPr/>
            <p:nvPr userDrawn="1"/>
          </p:nvCxnSpPr>
          <p:spPr>
            <a:xfrm flipV="1">
              <a:off x="810677" y="3066100"/>
              <a:ext cx="0" cy="362901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0" name="Textfeld 103"/>
            <p:cNvSpPr txBox="1"/>
            <p:nvPr userDrawn="1"/>
          </p:nvSpPr>
          <p:spPr>
            <a:xfrm>
              <a:off x="738031" y="3175385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1,01</a:t>
              </a:r>
            </a:p>
          </p:txBody>
        </p:sp>
        <p:cxnSp>
          <p:nvCxnSpPr>
            <p:cNvPr id="221" name="Gerade Verbindung mit Pfeil 93"/>
            <p:cNvCxnSpPr/>
            <p:nvPr userDrawn="1"/>
          </p:nvCxnSpPr>
          <p:spPr>
            <a:xfrm flipV="1">
              <a:off x="964827" y="2388396"/>
              <a:ext cx="0" cy="104060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2" name="Textfeld 112"/>
            <p:cNvSpPr txBox="1"/>
            <p:nvPr userDrawn="1"/>
          </p:nvSpPr>
          <p:spPr>
            <a:xfrm>
              <a:off x="738859" y="25991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2,89</a:t>
              </a:r>
            </a:p>
          </p:txBody>
        </p:sp>
        <p:cxnSp>
          <p:nvCxnSpPr>
            <p:cNvPr id="223" name="Gerade Verbindung mit Pfeil 94"/>
            <p:cNvCxnSpPr/>
            <p:nvPr userDrawn="1"/>
          </p:nvCxnSpPr>
          <p:spPr>
            <a:xfrm flipV="1">
              <a:off x="1118977" y="2295525"/>
              <a:ext cx="0" cy="1133477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4" name="Textfeld 113"/>
            <p:cNvSpPr txBox="1"/>
            <p:nvPr userDrawn="1"/>
          </p:nvSpPr>
          <p:spPr>
            <a:xfrm>
              <a:off x="1048124" y="2434033"/>
              <a:ext cx="22143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3,14</a:t>
              </a:r>
            </a:p>
          </p:txBody>
        </p:sp>
        <p:cxnSp>
          <p:nvCxnSpPr>
            <p:cNvPr id="225" name="Gerade Verbindung mit Pfeil 95"/>
            <p:cNvCxnSpPr/>
            <p:nvPr userDrawn="1"/>
          </p:nvCxnSpPr>
          <p:spPr>
            <a:xfrm flipV="1">
              <a:off x="1273126" y="1622737"/>
              <a:ext cx="0" cy="1806266"/>
            </a:xfrm>
            <a:prstGeom prst="straightConnector1">
              <a:avLst/>
            </a:prstGeom>
            <a:ln w="6350"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6" name="Textfeld 115"/>
            <p:cNvSpPr txBox="1"/>
            <p:nvPr/>
          </p:nvSpPr>
          <p:spPr>
            <a:xfrm>
              <a:off x="1018866" y="1665683"/>
              <a:ext cx="28228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rgbClr val="B30000"/>
                  </a:solidFill>
                </a:rPr>
                <a:t>5,02</a:t>
              </a:r>
            </a:p>
          </p:txBody>
        </p:sp>
      </p:grpSp>
      <p:grpSp>
        <p:nvGrpSpPr>
          <p:cNvPr id="227" name="Rasterlinien"/>
          <p:cNvGrpSpPr/>
          <p:nvPr userDrawn="1"/>
        </p:nvGrpSpPr>
        <p:grpSpPr>
          <a:xfrm>
            <a:off x="0" y="0"/>
            <a:ext cx="9149070" cy="6852284"/>
            <a:chOff x="0" y="0"/>
            <a:chExt cx="9149070" cy="6852284"/>
          </a:xfrm>
        </p:grpSpPr>
        <p:cxnSp>
          <p:nvCxnSpPr>
            <p:cNvPr id="228" name="Gerader Verbinder 40"/>
            <p:cNvCxnSpPr/>
            <p:nvPr userDrawn="1"/>
          </p:nvCxnSpPr>
          <p:spPr>
            <a:xfrm>
              <a:off x="174434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9" name="Gerader Verbinder 41"/>
            <p:cNvCxnSpPr/>
            <p:nvPr userDrawn="1"/>
          </p:nvCxnSpPr>
          <p:spPr>
            <a:xfrm>
              <a:off x="302133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0" name="Gerader Verbinder 42"/>
            <p:cNvCxnSpPr/>
            <p:nvPr userDrawn="1"/>
          </p:nvCxnSpPr>
          <p:spPr>
            <a:xfrm>
              <a:off x="3202464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1" name="Gerader Verbinder 43"/>
            <p:cNvCxnSpPr/>
            <p:nvPr userDrawn="1"/>
          </p:nvCxnSpPr>
          <p:spPr>
            <a:xfrm>
              <a:off x="448071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2" name="Gerader Verbinder 44"/>
            <p:cNvCxnSpPr/>
            <p:nvPr userDrawn="1"/>
          </p:nvCxnSpPr>
          <p:spPr>
            <a:xfrm>
              <a:off x="4659471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3" name="Gerader Verbinder 45"/>
            <p:cNvCxnSpPr/>
            <p:nvPr userDrawn="1"/>
          </p:nvCxnSpPr>
          <p:spPr>
            <a:xfrm>
              <a:off x="59390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4" name="Gerader Verbinder 46"/>
            <p:cNvCxnSpPr/>
            <p:nvPr userDrawn="1"/>
          </p:nvCxnSpPr>
          <p:spPr>
            <a:xfrm>
              <a:off x="6120130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5" name="Gerader Verbinder 47"/>
            <p:cNvCxnSpPr/>
            <p:nvPr userDrawn="1"/>
          </p:nvCxnSpPr>
          <p:spPr>
            <a:xfrm>
              <a:off x="7397749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6" name="Gerader Verbinder 48"/>
            <p:cNvCxnSpPr/>
            <p:nvPr userDrawn="1"/>
          </p:nvCxnSpPr>
          <p:spPr>
            <a:xfrm>
              <a:off x="7576502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7" name="Gerader Verbinder 49"/>
            <p:cNvCxnSpPr/>
            <p:nvPr userDrawn="1"/>
          </p:nvCxnSpPr>
          <p:spPr>
            <a:xfrm>
              <a:off x="1564006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8" name="Gerader Verbinder 50"/>
            <p:cNvCxnSpPr/>
            <p:nvPr userDrawn="1"/>
          </p:nvCxnSpPr>
          <p:spPr>
            <a:xfrm>
              <a:off x="286703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9" name="Gerader Verbinder 51"/>
            <p:cNvCxnSpPr/>
            <p:nvPr userDrawn="1"/>
          </p:nvCxnSpPr>
          <p:spPr>
            <a:xfrm>
              <a:off x="8856355" y="0"/>
              <a:ext cx="0" cy="6852284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0" name="Gerader Verbinder 52"/>
            <p:cNvCxnSpPr/>
            <p:nvPr userDrawn="1"/>
          </p:nvCxnSpPr>
          <p:spPr>
            <a:xfrm>
              <a:off x="0" y="1034415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1" name="Gerader Verbinder 53"/>
            <p:cNvCxnSpPr/>
            <p:nvPr userDrawn="1"/>
          </p:nvCxnSpPr>
          <p:spPr>
            <a:xfrm>
              <a:off x="0" y="162083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2" name="Gerader Verbinder 54"/>
            <p:cNvCxnSpPr/>
            <p:nvPr userDrawn="1"/>
          </p:nvCxnSpPr>
          <p:spPr>
            <a:xfrm>
              <a:off x="0" y="22955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3" name="Gerader Verbinder 55"/>
            <p:cNvCxnSpPr/>
            <p:nvPr userDrawn="1"/>
          </p:nvCxnSpPr>
          <p:spPr>
            <a:xfrm>
              <a:off x="0" y="238649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4" name="Gerader Verbinder 56"/>
            <p:cNvCxnSpPr/>
            <p:nvPr userDrawn="1"/>
          </p:nvCxnSpPr>
          <p:spPr>
            <a:xfrm>
              <a:off x="0" y="306467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5" name="Gerader Verbinder 57"/>
            <p:cNvCxnSpPr/>
            <p:nvPr userDrawn="1"/>
          </p:nvCxnSpPr>
          <p:spPr>
            <a:xfrm>
              <a:off x="5070" y="315514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6" name="Gerader Verbinder 58"/>
            <p:cNvCxnSpPr/>
            <p:nvPr userDrawn="1"/>
          </p:nvCxnSpPr>
          <p:spPr>
            <a:xfrm>
              <a:off x="0" y="3831910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7" name="Gerader Verbinder 59"/>
            <p:cNvCxnSpPr/>
            <p:nvPr userDrawn="1"/>
          </p:nvCxnSpPr>
          <p:spPr>
            <a:xfrm>
              <a:off x="0" y="392032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8" name="Gerader Verbinder 60"/>
            <p:cNvCxnSpPr/>
            <p:nvPr userDrawn="1"/>
          </p:nvCxnSpPr>
          <p:spPr>
            <a:xfrm>
              <a:off x="0" y="4599781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9" name="Gerader Verbinder 61"/>
            <p:cNvCxnSpPr/>
            <p:nvPr userDrawn="1"/>
          </p:nvCxnSpPr>
          <p:spPr>
            <a:xfrm>
              <a:off x="0" y="468773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0" name="Gerader Verbinder 62"/>
            <p:cNvCxnSpPr/>
            <p:nvPr userDrawn="1"/>
          </p:nvCxnSpPr>
          <p:spPr>
            <a:xfrm>
              <a:off x="0" y="5366226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1" name="Gerader Verbinder 63"/>
            <p:cNvCxnSpPr/>
            <p:nvPr userDrawn="1"/>
          </p:nvCxnSpPr>
          <p:spPr>
            <a:xfrm>
              <a:off x="0" y="5455442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2" name="Gerader Verbinder 64"/>
            <p:cNvCxnSpPr/>
            <p:nvPr userDrawn="1"/>
          </p:nvCxnSpPr>
          <p:spPr>
            <a:xfrm>
              <a:off x="0" y="6132678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3" name="Gerader Verbinder 65"/>
            <p:cNvCxnSpPr/>
            <p:nvPr userDrawn="1"/>
          </p:nvCxnSpPr>
          <p:spPr>
            <a:xfrm>
              <a:off x="0" y="336234"/>
              <a:ext cx="914400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54" name="Abstandsbox"/>
          <p:cNvGrpSpPr/>
          <p:nvPr userDrawn="1"/>
        </p:nvGrpSpPr>
        <p:grpSpPr>
          <a:xfrm>
            <a:off x="6967053" y="3831910"/>
            <a:ext cx="1902050" cy="742919"/>
            <a:chOff x="6967053" y="3831910"/>
            <a:chExt cx="1902050" cy="742919"/>
          </a:xfrm>
        </p:grpSpPr>
        <p:sp>
          <p:nvSpPr>
            <p:cNvPr id="255" name="Rechteckige Legende 124"/>
            <p:cNvSpPr/>
            <p:nvPr userDrawn="1"/>
          </p:nvSpPr>
          <p:spPr>
            <a:xfrm>
              <a:off x="6967053" y="4132501"/>
              <a:ext cx="1902050" cy="442328"/>
            </a:xfrm>
            <a:prstGeom prst="wedgeRoundRectCallout">
              <a:avLst>
                <a:gd name="adj1" fmla="val -23390"/>
                <a:gd name="adj2" fmla="val -87045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Horizontal distance: 0,5 cm</a:t>
              </a:r>
            </a:p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Vertical distance: 0,25 cm</a:t>
              </a:r>
            </a:p>
          </p:txBody>
        </p:sp>
        <p:sp>
          <p:nvSpPr>
            <p:cNvPr id="256" name="Rechteck 123"/>
            <p:cNvSpPr/>
            <p:nvPr userDrawn="1"/>
          </p:nvSpPr>
          <p:spPr>
            <a:xfrm>
              <a:off x="7399338" y="3831910"/>
              <a:ext cx="180000" cy="9032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cap="all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7" name="Mittelkreuz"/>
          <p:cNvGrpSpPr/>
          <p:nvPr userDrawn="1"/>
        </p:nvGrpSpPr>
        <p:grpSpPr>
          <a:xfrm>
            <a:off x="4421506" y="3276985"/>
            <a:ext cx="1728244" cy="1002818"/>
            <a:chOff x="4421506" y="3276985"/>
            <a:chExt cx="1728244" cy="1002818"/>
          </a:xfrm>
        </p:grpSpPr>
        <p:cxnSp>
          <p:nvCxnSpPr>
            <p:cNvPr id="258" name="Mittellinie vertikal"/>
            <p:cNvCxnSpPr/>
            <p:nvPr userDrawn="1"/>
          </p:nvCxnSpPr>
          <p:spPr>
            <a:xfrm>
              <a:off x="4569132" y="3276985"/>
              <a:ext cx="0" cy="285675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59" name="Mittellinie horizontal"/>
            <p:cNvCxnSpPr/>
            <p:nvPr userDrawn="1"/>
          </p:nvCxnSpPr>
          <p:spPr>
            <a:xfrm>
              <a:off x="4427984" y="3429000"/>
              <a:ext cx="288032" cy="0"/>
            </a:xfrm>
            <a:prstGeom prst="line">
              <a:avLst/>
            </a:prstGeom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60" name="Rechteckige Legende 16"/>
            <p:cNvSpPr/>
            <p:nvPr userDrawn="1"/>
          </p:nvSpPr>
          <p:spPr>
            <a:xfrm>
              <a:off x="4421506" y="3704495"/>
              <a:ext cx="1728244" cy="575308"/>
            </a:xfrm>
            <a:prstGeom prst="wedgeRoundRectCallout">
              <a:avLst>
                <a:gd name="adj1" fmla="val -33043"/>
                <a:gd name="adj2" fmla="val -78101"/>
                <a:gd name="adj3" fmla="val 16667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Distance of gridlines measured from cen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87247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7590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0" orient="horz" pos="2160" userDrawn="1">
          <p15:clr>
            <a:srgbClr val="FBAE40"/>
          </p15:clr>
        </p15:guide>
        <p15:guide id="1" pos="2880" userDrawn="1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600575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7" name="Textplatzhalter 12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960229"/>
      </p:ext>
    </p:extLst>
  </p:cSld>
  <p:clrMapOvr>
    <a:masterClrMapping/>
  </p:clrMapOvr>
  <p:hf hdr="0" ftr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1 pic with red head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544106"/>
            <a:ext cx="9144000" cy="4056469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9144000" cy="542925"/>
          </a:xfrm>
          <a:solidFill>
            <a:schemeClr val="tx2"/>
          </a:solidFill>
          <a:ln>
            <a:noFill/>
          </a:ln>
        </p:spPr>
        <p:txBody>
          <a:bodyPr vert="horz" lIns="108000" tIns="108000" rIns="108000" bIns="0" rtlCol="0" anchor="ctr" anchorCtr="0">
            <a:noAutofit/>
          </a:bodyPr>
          <a:lstStyle>
            <a:lvl1pPr>
              <a:defRPr lang="de-DE" sz="2400" dirty="0" smtClean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platzhalter 12"/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729096" y="2723018"/>
            <a:ext cx="2129154" cy="2394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Aft>
                <a:spcPts val="0"/>
              </a:spcAft>
              <a:buFont typeface="Arial" pitchFamily="34" charset="0"/>
              <a:buNone/>
              <a:defRPr b="0"/>
            </a:lvl1pPr>
            <a:lvl2pPr marL="0" indent="0">
              <a:spcAft>
                <a:spcPts val="0"/>
              </a:spcAft>
              <a:buFont typeface="Arial" pitchFamily="34" charset="0"/>
              <a:buNone/>
              <a:defRPr b="0"/>
            </a:lvl2pPr>
            <a:lvl3pPr marL="0" indent="0">
              <a:spcAft>
                <a:spcPts val="0"/>
              </a:spcAft>
              <a:buNone/>
              <a:defRPr b="0"/>
            </a:lvl3pPr>
            <a:lvl4pPr marL="0" indent="0">
              <a:spcAft>
                <a:spcPts val="0"/>
              </a:spcAft>
              <a:buNone/>
              <a:defRPr b="0"/>
            </a:lvl4pPr>
            <a:lvl5pPr marL="0" indent="0">
              <a:spcAft>
                <a:spcPts val="0"/>
              </a:spcAft>
              <a:buNone/>
              <a:defRPr b="0"/>
            </a:lvl5pPr>
            <a:lvl6pPr marL="0" indent="0">
              <a:spcAft>
                <a:spcPts val="0"/>
              </a:spcAft>
              <a:buNone/>
              <a:defRPr b="0"/>
            </a:lvl6pPr>
            <a:lvl7pPr marL="0" indent="0">
              <a:spcAft>
                <a:spcPts val="0"/>
              </a:spcAft>
              <a:buNone/>
              <a:defRPr b="0"/>
            </a:lvl7pPr>
            <a:lvl8pPr marL="0" indent="0">
              <a:spcAft>
                <a:spcPts val="0"/>
              </a:spcAft>
              <a:buNone/>
              <a:defRPr b="0"/>
            </a:lvl8pPr>
            <a:lvl9pPr marL="0" indent="0">
              <a:spcAft>
                <a:spcPts val="0"/>
              </a:spcAft>
              <a:buNone/>
              <a:defRPr b="0"/>
            </a:lvl9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Grafik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963508"/>
      </p:ext>
    </p:extLst>
  </p:cSld>
  <p:clrMapOvr>
    <a:masterClrMapping/>
  </p:clrMapOvr>
  <p:hf hdr="0" ftr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cover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86750" y="5013176"/>
            <a:ext cx="5647325" cy="887809"/>
          </a:xfrm>
        </p:spPr>
        <p:txBody>
          <a:bodyPr/>
          <a:lstStyle>
            <a:lvl1pPr>
              <a:lnSpc>
                <a:spcPct val="1000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6750" y="5939241"/>
            <a:ext cx="5647325" cy="71238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5934075" cy="4605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5938838" y="1"/>
            <a:ext cx="3204781" cy="22986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8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5938838" y="2304288"/>
            <a:ext cx="3204781" cy="230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5997779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2281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91600" y="1622424"/>
            <a:ext cx="8560062" cy="4520081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0" rIns="108000" bIns="0" rtlCol="0" anchor="ctr" anchorCtr="0">
            <a:noAutofit/>
          </a:bodyPr>
          <a:lstStyle>
            <a:lvl1pPr marL="176213" indent="-176213">
              <a:lnSpc>
                <a:spcPct val="100000"/>
              </a:lnSpc>
              <a:spcAft>
                <a:spcPts val="600"/>
              </a:spcAft>
              <a:buSzPct val="100000"/>
              <a:buFont typeface="Arial" panose="020B0604020202020204" pitchFamily="34" charset="0"/>
              <a:buChar char="&gt;"/>
              <a:defRPr lang="de-DE" sz="1400" smtClean="0"/>
            </a:lvl1pPr>
            <a:lvl2pPr marL="449263" indent="-176213">
              <a:defRPr lang="de-DE" smtClean="0"/>
            </a:lvl2pPr>
            <a:lvl3pPr marL="625475" indent="-180975">
              <a:buSzPct val="100000"/>
              <a:buFont typeface="Arial" panose="020B0604020202020204" pitchFamily="34" charset="0"/>
              <a:buChar char="&gt;"/>
              <a:defRPr lang="de-DE" smtClean="0"/>
            </a:lvl3pPr>
            <a:lvl4pPr marL="808038" indent="-180975">
              <a:buSzPct val="70000"/>
              <a:buFont typeface="Wingdings" panose="05000000000000000000" pitchFamily="2" charset="2"/>
              <a:buChar char="¨"/>
              <a:defRPr lang="de-DE" smtClean="0"/>
            </a:lvl4pPr>
            <a:lvl5pPr marL="982663" indent="-176213">
              <a:defRPr lang="de-AT" dirty="0"/>
            </a:lvl5pPr>
          </a:lstStyle>
          <a:p>
            <a:pPr lvl="0"/>
            <a:r>
              <a:rPr lang="en-US" dirty="0"/>
              <a:t>Insert text for disclaim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940DD-8E32-4B2F-B442-F236D5130E44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51852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-agenda/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5551759" cy="7506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5D69A-4637-442F-95F4-2803350F1BCE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925" y="161925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925" y="1996440"/>
            <a:ext cx="8569325" cy="777240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sz="140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sub item or delete/rearrange text boxes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88925" y="2811780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88925" y="3188970"/>
            <a:ext cx="8569325" cy="312038"/>
          </a:xfrm>
          <a:noFill/>
        </p:spPr>
        <p:txBody>
          <a:bodyPr anchor="t"/>
          <a:lstStyle>
            <a:lvl1pPr marL="18256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tabLst>
                <a:tab pos="8428038" algn="r"/>
              </a:tabLst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marL="182563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None/>
              <a:tabLst>
                <a:tab pos="8428038" algn="r"/>
              </a:tabLst>
            </a:pPr>
            <a:r>
              <a:rPr lang="en-US" dirty="0"/>
              <a:t>Click to add sub item or delete/rearrange text boxes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88925" y="3543478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3" hasCustomPrompt="1"/>
          </p:nvPr>
        </p:nvSpPr>
        <p:spPr>
          <a:xfrm>
            <a:off x="288925" y="3927003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288925" y="4312557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288925" y="4689706"/>
            <a:ext cx="8569325" cy="339090"/>
          </a:xfrm>
          <a:solidFill>
            <a:schemeClr val="bg2"/>
          </a:solidFill>
        </p:spPr>
        <p:txBody>
          <a:bodyPr anchor="ctr"/>
          <a:lstStyle>
            <a:lvl1pPr marL="182563" indent="0">
              <a:lnSpc>
                <a:spcPct val="100000"/>
              </a:lnSpc>
              <a:spcAft>
                <a:spcPts val="0"/>
              </a:spcAft>
              <a:buNone/>
              <a:tabLst>
                <a:tab pos="8428038" algn="r"/>
              </a:tabLst>
              <a:defRPr sz="1600" baseline="0">
                <a:solidFill>
                  <a:schemeClr val="tx1"/>
                </a:solidFill>
              </a:defRPr>
            </a:lvl1pPr>
            <a:lvl2pPr marL="271462" indent="0">
              <a:buNone/>
              <a:defRPr/>
            </a:lvl2pPr>
            <a:lvl3pPr marL="447675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US" dirty="0"/>
              <a:t>Click to add main item</a:t>
            </a:r>
          </a:p>
        </p:txBody>
      </p:sp>
    </p:spTree>
    <p:extLst>
      <p:ext uri="{BB962C8B-B14F-4D97-AF65-F5344CB8AC3E}">
        <p14:creationId xmlns:p14="http://schemas.microsoft.com/office/powerpoint/2010/main" val="122720046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3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600" y="2030400"/>
            <a:ext cx="5370411" cy="2002637"/>
          </a:xfrm>
        </p:spPr>
        <p:txBody>
          <a:bodyPr anchor="t"/>
          <a:lstStyle>
            <a:lvl1pPr algn="l">
              <a:lnSpc>
                <a:spcPct val="100000"/>
              </a:lnSpc>
              <a:defRPr sz="3600" b="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968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1151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126163" y="4688180"/>
            <a:ext cx="2732087" cy="15906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8237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subsection header - 2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9250"/>
            <a:ext cx="9144000" cy="52326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9438" y="2028825"/>
            <a:ext cx="3911600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section title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 panose="020B0604020202020204" pitchFamily="34" charset="0"/>
              <a:buNone/>
              <a:tabLst/>
              <a:defRPr lang="de-AT"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pic>
        <p:nvPicPr>
          <p:cNvPr id="11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38951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-the 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1612900"/>
            <a:ext cx="9144000" cy="52390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9438" y="2028825"/>
            <a:ext cx="3902075" cy="4111625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e-AT" sz="3600" cap="none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4668838" y="2133600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 baseline="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4668838" y="4314825"/>
            <a:ext cx="4179887" cy="200025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1pPr>
          </a:lstStyle>
          <a:p>
            <a:r>
              <a:rPr lang="en-US" noProof="0" dirty="0"/>
              <a:t>Click on icon to insert pictur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79437" y="495300"/>
            <a:ext cx="5864771" cy="542925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  <a:lvl2pPr marL="271462" indent="0">
              <a:buNone/>
              <a:defRPr/>
            </a:lvl2pPr>
            <a:lvl3pPr marL="442912" indent="0">
              <a:buNone/>
              <a:defRPr/>
            </a:lvl3pPr>
            <a:lvl4pPr marL="628650" indent="0">
              <a:buNone/>
              <a:defRPr/>
            </a:lvl4pPr>
            <a:lvl5pPr marL="814387" indent="0">
              <a:buNone/>
              <a:defRPr/>
            </a:lvl5pPr>
          </a:lstStyle>
          <a:p>
            <a:pPr lvl="0"/>
            <a:r>
              <a:rPr lang="en-US" dirty="0"/>
              <a:t>Insert contact data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8047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vmlDrawing" Target="../drawings/vmlDrawing1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39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66.xml"/><Relationship Id="rId34" Type="http://schemas.openxmlformats.org/officeDocument/2006/relationships/slideLayout" Target="../slideLayouts/slideLayout79.xml"/><Relationship Id="rId42" Type="http://schemas.openxmlformats.org/officeDocument/2006/relationships/slideLayout" Target="../slideLayouts/slideLayout87.xml"/><Relationship Id="rId47" Type="http://schemas.openxmlformats.org/officeDocument/2006/relationships/vmlDrawing" Target="../drawings/vmlDrawing2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77.xml"/><Relationship Id="rId37" Type="http://schemas.openxmlformats.org/officeDocument/2006/relationships/slideLayout" Target="../slideLayouts/slideLayout82.xml"/><Relationship Id="rId40" Type="http://schemas.openxmlformats.org/officeDocument/2006/relationships/slideLayout" Target="../slideLayouts/slideLayout85.xml"/><Relationship Id="rId45" Type="http://schemas.openxmlformats.org/officeDocument/2006/relationships/slideLayout" Target="../slideLayouts/slideLayout90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73.xml"/><Relationship Id="rId36" Type="http://schemas.openxmlformats.org/officeDocument/2006/relationships/slideLayout" Target="../slideLayouts/slideLayout81.xml"/><Relationship Id="rId49" Type="http://schemas.openxmlformats.org/officeDocument/2006/relationships/oleObject" Target="../embeddings/oleObject2.bin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76.xml"/><Relationship Id="rId44" Type="http://schemas.openxmlformats.org/officeDocument/2006/relationships/slideLayout" Target="../slideLayouts/slideLayout89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75.xml"/><Relationship Id="rId35" Type="http://schemas.openxmlformats.org/officeDocument/2006/relationships/slideLayout" Target="../slideLayouts/slideLayout80.xml"/><Relationship Id="rId43" Type="http://schemas.openxmlformats.org/officeDocument/2006/relationships/slideLayout" Target="../slideLayouts/slideLayout88.xml"/><Relationship Id="rId48" Type="http://schemas.openxmlformats.org/officeDocument/2006/relationships/tags" Target="../tags/tag3.xml"/><Relationship Id="rId8" Type="http://schemas.openxmlformats.org/officeDocument/2006/relationships/slideLayout" Target="../slideLayouts/slideLayout53.xml"/><Relationship Id="rId51" Type="http://schemas.openxmlformats.org/officeDocument/2006/relationships/image" Target="../media/image2.emf"/><Relationship Id="rId3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33" Type="http://schemas.openxmlformats.org/officeDocument/2006/relationships/slideLayout" Target="../slideLayouts/slideLayout78.xml"/><Relationship Id="rId38" Type="http://schemas.openxmlformats.org/officeDocument/2006/relationships/slideLayout" Target="../slideLayouts/slideLayout83.xml"/><Relationship Id="rId46" Type="http://schemas.openxmlformats.org/officeDocument/2006/relationships/theme" Target="../theme/theme2.xml"/><Relationship Id="rId20" Type="http://schemas.openxmlformats.org/officeDocument/2006/relationships/slideLayout" Target="../slideLayouts/slideLayout65.xml"/><Relationship Id="rId41" Type="http://schemas.openxmlformats.org/officeDocument/2006/relationships/slideLayout" Target="../slideLayouts/slideLayout86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26" Type="http://schemas.openxmlformats.org/officeDocument/2006/relationships/slideLayout" Target="../slideLayouts/slideLayout116.xml"/><Relationship Id="rId39" Type="http://schemas.openxmlformats.org/officeDocument/2006/relationships/slideLayout" Target="../slideLayouts/slideLayout129.xml"/><Relationship Id="rId21" Type="http://schemas.openxmlformats.org/officeDocument/2006/relationships/slideLayout" Target="../slideLayouts/slideLayout111.xml"/><Relationship Id="rId34" Type="http://schemas.openxmlformats.org/officeDocument/2006/relationships/slideLayout" Target="../slideLayouts/slideLayout124.xml"/><Relationship Id="rId42" Type="http://schemas.openxmlformats.org/officeDocument/2006/relationships/slideLayout" Target="../slideLayouts/slideLayout132.xml"/><Relationship Id="rId47" Type="http://schemas.openxmlformats.org/officeDocument/2006/relationships/vmlDrawing" Target="../drawings/vmlDrawing3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01.xml"/><Relationship Id="rId24" Type="http://schemas.openxmlformats.org/officeDocument/2006/relationships/slideLayout" Target="../slideLayouts/slideLayout114.xml"/><Relationship Id="rId32" Type="http://schemas.openxmlformats.org/officeDocument/2006/relationships/slideLayout" Target="../slideLayouts/slideLayout122.xml"/><Relationship Id="rId37" Type="http://schemas.openxmlformats.org/officeDocument/2006/relationships/slideLayout" Target="../slideLayouts/slideLayout127.xml"/><Relationship Id="rId40" Type="http://schemas.openxmlformats.org/officeDocument/2006/relationships/slideLayout" Target="../slideLayouts/slideLayout130.xml"/><Relationship Id="rId45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slideLayout" Target="../slideLayouts/slideLayout113.xml"/><Relationship Id="rId28" Type="http://schemas.openxmlformats.org/officeDocument/2006/relationships/slideLayout" Target="../slideLayouts/slideLayout118.xml"/><Relationship Id="rId36" Type="http://schemas.openxmlformats.org/officeDocument/2006/relationships/slideLayout" Target="../slideLayouts/slideLayout126.xml"/><Relationship Id="rId49" Type="http://schemas.openxmlformats.org/officeDocument/2006/relationships/oleObject" Target="../embeddings/oleObject3.bin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31" Type="http://schemas.openxmlformats.org/officeDocument/2006/relationships/slideLayout" Target="../slideLayouts/slideLayout121.xml"/><Relationship Id="rId44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112.xml"/><Relationship Id="rId27" Type="http://schemas.openxmlformats.org/officeDocument/2006/relationships/slideLayout" Target="../slideLayouts/slideLayout117.xml"/><Relationship Id="rId30" Type="http://schemas.openxmlformats.org/officeDocument/2006/relationships/slideLayout" Target="../slideLayouts/slideLayout120.xml"/><Relationship Id="rId35" Type="http://schemas.openxmlformats.org/officeDocument/2006/relationships/slideLayout" Target="../slideLayouts/slideLayout125.xml"/><Relationship Id="rId43" Type="http://schemas.openxmlformats.org/officeDocument/2006/relationships/slideLayout" Target="../slideLayouts/slideLayout133.xml"/><Relationship Id="rId48" Type="http://schemas.openxmlformats.org/officeDocument/2006/relationships/tags" Target="../tags/tag4.xml"/><Relationship Id="rId8" Type="http://schemas.openxmlformats.org/officeDocument/2006/relationships/slideLayout" Target="../slideLayouts/slideLayout98.xml"/><Relationship Id="rId51" Type="http://schemas.openxmlformats.org/officeDocument/2006/relationships/image" Target="../media/image2.emf"/><Relationship Id="rId3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slideLayout" Target="../slideLayouts/slideLayout115.xml"/><Relationship Id="rId33" Type="http://schemas.openxmlformats.org/officeDocument/2006/relationships/slideLayout" Target="../slideLayouts/slideLayout123.xml"/><Relationship Id="rId38" Type="http://schemas.openxmlformats.org/officeDocument/2006/relationships/slideLayout" Target="../slideLayouts/slideLayout128.xml"/><Relationship Id="rId46" Type="http://schemas.openxmlformats.org/officeDocument/2006/relationships/theme" Target="../theme/theme3.xml"/><Relationship Id="rId20" Type="http://schemas.openxmlformats.org/officeDocument/2006/relationships/slideLayout" Target="../slideLayouts/slideLayout110.xml"/><Relationship Id="rId41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26" Type="http://schemas.openxmlformats.org/officeDocument/2006/relationships/slideLayout" Target="../slideLayouts/slideLayout161.xml"/><Relationship Id="rId39" Type="http://schemas.openxmlformats.org/officeDocument/2006/relationships/slideLayout" Target="../slideLayouts/slideLayout174.xml"/><Relationship Id="rId21" Type="http://schemas.openxmlformats.org/officeDocument/2006/relationships/slideLayout" Target="../slideLayouts/slideLayout156.xml"/><Relationship Id="rId34" Type="http://schemas.openxmlformats.org/officeDocument/2006/relationships/slideLayout" Target="../slideLayouts/slideLayout169.xml"/><Relationship Id="rId42" Type="http://schemas.openxmlformats.org/officeDocument/2006/relationships/slideLayout" Target="../slideLayouts/slideLayout177.xml"/><Relationship Id="rId47" Type="http://schemas.openxmlformats.org/officeDocument/2006/relationships/vmlDrawing" Target="../drawings/vmlDrawing4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9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46.xml"/><Relationship Id="rId24" Type="http://schemas.openxmlformats.org/officeDocument/2006/relationships/slideLayout" Target="../slideLayouts/slideLayout159.xml"/><Relationship Id="rId32" Type="http://schemas.openxmlformats.org/officeDocument/2006/relationships/slideLayout" Target="../slideLayouts/slideLayout167.xml"/><Relationship Id="rId37" Type="http://schemas.openxmlformats.org/officeDocument/2006/relationships/slideLayout" Target="../slideLayouts/slideLayout172.xml"/><Relationship Id="rId40" Type="http://schemas.openxmlformats.org/officeDocument/2006/relationships/slideLayout" Target="../slideLayouts/slideLayout175.xml"/><Relationship Id="rId45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158.xml"/><Relationship Id="rId28" Type="http://schemas.openxmlformats.org/officeDocument/2006/relationships/slideLayout" Target="../slideLayouts/slideLayout163.xml"/><Relationship Id="rId36" Type="http://schemas.openxmlformats.org/officeDocument/2006/relationships/slideLayout" Target="../slideLayouts/slideLayout171.xml"/><Relationship Id="rId49" Type="http://schemas.openxmlformats.org/officeDocument/2006/relationships/oleObject" Target="../embeddings/oleObject4.bin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31" Type="http://schemas.openxmlformats.org/officeDocument/2006/relationships/slideLayout" Target="../slideLayouts/slideLayout166.xml"/><Relationship Id="rId44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slideLayout" Target="../slideLayouts/slideLayout162.xml"/><Relationship Id="rId30" Type="http://schemas.openxmlformats.org/officeDocument/2006/relationships/slideLayout" Target="../slideLayouts/slideLayout165.xml"/><Relationship Id="rId35" Type="http://schemas.openxmlformats.org/officeDocument/2006/relationships/slideLayout" Target="../slideLayouts/slideLayout170.xml"/><Relationship Id="rId43" Type="http://schemas.openxmlformats.org/officeDocument/2006/relationships/slideLayout" Target="../slideLayouts/slideLayout178.xml"/><Relationship Id="rId48" Type="http://schemas.openxmlformats.org/officeDocument/2006/relationships/tags" Target="../tags/tag5.xml"/><Relationship Id="rId8" Type="http://schemas.openxmlformats.org/officeDocument/2006/relationships/slideLayout" Target="../slideLayouts/slideLayout143.xml"/><Relationship Id="rId51" Type="http://schemas.openxmlformats.org/officeDocument/2006/relationships/image" Target="../media/image2.emf"/><Relationship Id="rId3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slideLayout" Target="../slideLayouts/slideLayout160.xml"/><Relationship Id="rId33" Type="http://schemas.openxmlformats.org/officeDocument/2006/relationships/slideLayout" Target="../slideLayouts/slideLayout168.xml"/><Relationship Id="rId38" Type="http://schemas.openxmlformats.org/officeDocument/2006/relationships/slideLayout" Target="../slideLayouts/slideLayout173.xml"/><Relationship Id="rId46" Type="http://schemas.openxmlformats.org/officeDocument/2006/relationships/theme" Target="../theme/theme4.xml"/><Relationship Id="rId20" Type="http://schemas.openxmlformats.org/officeDocument/2006/relationships/slideLayout" Target="../slideLayouts/slideLayout155.xml"/><Relationship Id="rId41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3.xml"/><Relationship Id="rId18" Type="http://schemas.openxmlformats.org/officeDocument/2006/relationships/slideLayout" Target="../slideLayouts/slideLayout198.xml"/><Relationship Id="rId26" Type="http://schemas.openxmlformats.org/officeDocument/2006/relationships/slideLayout" Target="../slideLayouts/slideLayout206.xml"/><Relationship Id="rId39" Type="http://schemas.openxmlformats.org/officeDocument/2006/relationships/slideLayout" Target="../slideLayouts/slideLayout219.xml"/><Relationship Id="rId21" Type="http://schemas.openxmlformats.org/officeDocument/2006/relationships/slideLayout" Target="../slideLayouts/slideLayout201.xml"/><Relationship Id="rId34" Type="http://schemas.openxmlformats.org/officeDocument/2006/relationships/slideLayout" Target="../slideLayouts/slideLayout214.xml"/><Relationship Id="rId42" Type="http://schemas.openxmlformats.org/officeDocument/2006/relationships/slideLayout" Target="../slideLayouts/slideLayout222.xml"/><Relationship Id="rId47" Type="http://schemas.openxmlformats.org/officeDocument/2006/relationships/vmlDrawing" Target="../drawings/vmlDrawing5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187.xml"/><Relationship Id="rId2" Type="http://schemas.openxmlformats.org/officeDocument/2006/relationships/slideLayout" Target="../slideLayouts/slideLayout182.xml"/><Relationship Id="rId16" Type="http://schemas.openxmlformats.org/officeDocument/2006/relationships/slideLayout" Target="../slideLayouts/slideLayout196.xml"/><Relationship Id="rId29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191.xml"/><Relationship Id="rId24" Type="http://schemas.openxmlformats.org/officeDocument/2006/relationships/slideLayout" Target="../slideLayouts/slideLayout204.xml"/><Relationship Id="rId32" Type="http://schemas.openxmlformats.org/officeDocument/2006/relationships/slideLayout" Target="../slideLayouts/slideLayout212.xml"/><Relationship Id="rId37" Type="http://schemas.openxmlformats.org/officeDocument/2006/relationships/slideLayout" Target="../slideLayouts/slideLayout217.xml"/><Relationship Id="rId40" Type="http://schemas.openxmlformats.org/officeDocument/2006/relationships/slideLayout" Target="../slideLayouts/slideLayout220.xml"/><Relationship Id="rId45" Type="http://schemas.openxmlformats.org/officeDocument/2006/relationships/slideLayout" Target="../slideLayouts/slideLayout225.xml"/><Relationship Id="rId5" Type="http://schemas.openxmlformats.org/officeDocument/2006/relationships/slideLayout" Target="../slideLayouts/slideLayout185.xml"/><Relationship Id="rId15" Type="http://schemas.openxmlformats.org/officeDocument/2006/relationships/slideLayout" Target="../slideLayouts/slideLayout195.xml"/><Relationship Id="rId23" Type="http://schemas.openxmlformats.org/officeDocument/2006/relationships/slideLayout" Target="../slideLayouts/slideLayout203.xml"/><Relationship Id="rId28" Type="http://schemas.openxmlformats.org/officeDocument/2006/relationships/slideLayout" Target="../slideLayouts/slideLayout208.xml"/><Relationship Id="rId36" Type="http://schemas.openxmlformats.org/officeDocument/2006/relationships/slideLayout" Target="../slideLayouts/slideLayout216.xml"/><Relationship Id="rId49" Type="http://schemas.openxmlformats.org/officeDocument/2006/relationships/oleObject" Target="../embeddings/oleObject5.bin"/><Relationship Id="rId10" Type="http://schemas.openxmlformats.org/officeDocument/2006/relationships/slideLayout" Target="../slideLayouts/slideLayout190.xml"/><Relationship Id="rId19" Type="http://schemas.openxmlformats.org/officeDocument/2006/relationships/slideLayout" Target="../slideLayouts/slideLayout199.xml"/><Relationship Id="rId31" Type="http://schemas.openxmlformats.org/officeDocument/2006/relationships/slideLayout" Target="../slideLayouts/slideLayout211.xml"/><Relationship Id="rId44" Type="http://schemas.openxmlformats.org/officeDocument/2006/relationships/slideLayout" Target="../slideLayouts/slideLayout224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Relationship Id="rId14" Type="http://schemas.openxmlformats.org/officeDocument/2006/relationships/slideLayout" Target="../slideLayouts/slideLayout194.xml"/><Relationship Id="rId22" Type="http://schemas.openxmlformats.org/officeDocument/2006/relationships/slideLayout" Target="../slideLayouts/slideLayout202.xml"/><Relationship Id="rId27" Type="http://schemas.openxmlformats.org/officeDocument/2006/relationships/slideLayout" Target="../slideLayouts/slideLayout207.xml"/><Relationship Id="rId30" Type="http://schemas.openxmlformats.org/officeDocument/2006/relationships/slideLayout" Target="../slideLayouts/slideLayout210.xml"/><Relationship Id="rId35" Type="http://schemas.openxmlformats.org/officeDocument/2006/relationships/slideLayout" Target="../slideLayouts/slideLayout215.xml"/><Relationship Id="rId43" Type="http://schemas.openxmlformats.org/officeDocument/2006/relationships/slideLayout" Target="../slideLayouts/slideLayout223.xml"/><Relationship Id="rId48" Type="http://schemas.openxmlformats.org/officeDocument/2006/relationships/tags" Target="../tags/tag6.xml"/><Relationship Id="rId8" Type="http://schemas.openxmlformats.org/officeDocument/2006/relationships/slideLayout" Target="../slideLayouts/slideLayout188.xml"/><Relationship Id="rId51" Type="http://schemas.openxmlformats.org/officeDocument/2006/relationships/image" Target="../media/image2.emf"/><Relationship Id="rId3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92.xml"/><Relationship Id="rId17" Type="http://schemas.openxmlformats.org/officeDocument/2006/relationships/slideLayout" Target="../slideLayouts/slideLayout197.xml"/><Relationship Id="rId25" Type="http://schemas.openxmlformats.org/officeDocument/2006/relationships/slideLayout" Target="../slideLayouts/slideLayout205.xml"/><Relationship Id="rId33" Type="http://schemas.openxmlformats.org/officeDocument/2006/relationships/slideLayout" Target="../slideLayouts/slideLayout213.xml"/><Relationship Id="rId38" Type="http://schemas.openxmlformats.org/officeDocument/2006/relationships/slideLayout" Target="../slideLayouts/slideLayout218.xml"/><Relationship Id="rId46" Type="http://schemas.openxmlformats.org/officeDocument/2006/relationships/theme" Target="../theme/theme5.xml"/><Relationship Id="rId20" Type="http://schemas.openxmlformats.org/officeDocument/2006/relationships/slideLayout" Target="../slideLayouts/slideLayout200.xml"/><Relationship Id="rId41" Type="http://schemas.openxmlformats.org/officeDocument/2006/relationships/slideLayout" Target="../slideLayouts/slideLayout221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8.xml"/><Relationship Id="rId18" Type="http://schemas.openxmlformats.org/officeDocument/2006/relationships/slideLayout" Target="../slideLayouts/slideLayout243.xml"/><Relationship Id="rId26" Type="http://schemas.openxmlformats.org/officeDocument/2006/relationships/slideLayout" Target="../slideLayouts/slideLayout251.xml"/><Relationship Id="rId39" Type="http://schemas.openxmlformats.org/officeDocument/2006/relationships/slideLayout" Target="../slideLayouts/slideLayout264.xml"/><Relationship Id="rId21" Type="http://schemas.openxmlformats.org/officeDocument/2006/relationships/slideLayout" Target="../slideLayouts/slideLayout246.xml"/><Relationship Id="rId34" Type="http://schemas.openxmlformats.org/officeDocument/2006/relationships/slideLayout" Target="../slideLayouts/slideLayout259.xml"/><Relationship Id="rId42" Type="http://schemas.openxmlformats.org/officeDocument/2006/relationships/slideLayout" Target="../slideLayouts/slideLayout267.xml"/><Relationship Id="rId47" Type="http://schemas.openxmlformats.org/officeDocument/2006/relationships/vmlDrawing" Target="../drawings/vmlDrawing6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232.xml"/><Relationship Id="rId2" Type="http://schemas.openxmlformats.org/officeDocument/2006/relationships/slideLayout" Target="../slideLayouts/slideLayout227.xml"/><Relationship Id="rId16" Type="http://schemas.openxmlformats.org/officeDocument/2006/relationships/slideLayout" Target="../slideLayouts/slideLayout241.xml"/><Relationship Id="rId29" Type="http://schemas.openxmlformats.org/officeDocument/2006/relationships/slideLayout" Target="../slideLayouts/slideLayout254.xml"/><Relationship Id="rId11" Type="http://schemas.openxmlformats.org/officeDocument/2006/relationships/slideLayout" Target="../slideLayouts/slideLayout236.xml"/><Relationship Id="rId24" Type="http://schemas.openxmlformats.org/officeDocument/2006/relationships/slideLayout" Target="../slideLayouts/slideLayout249.xml"/><Relationship Id="rId32" Type="http://schemas.openxmlformats.org/officeDocument/2006/relationships/slideLayout" Target="../slideLayouts/slideLayout257.xml"/><Relationship Id="rId37" Type="http://schemas.openxmlformats.org/officeDocument/2006/relationships/slideLayout" Target="../slideLayouts/slideLayout262.xml"/><Relationship Id="rId40" Type="http://schemas.openxmlformats.org/officeDocument/2006/relationships/slideLayout" Target="../slideLayouts/slideLayout265.xml"/><Relationship Id="rId45" Type="http://schemas.openxmlformats.org/officeDocument/2006/relationships/slideLayout" Target="../slideLayouts/slideLayout270.xml"/><Relationship Id="rId5" Type="http://schemas.openxmlformats.org/officeDocument/2006/relationships/slideLayout" Target="../slideLayouts/slideLayout230.xml"/><Relationship Id="rId15" Type="http://schemas.openxmlformats.org/officeDocument/2006/relationships/slideLayout" Target="../slideLayouts/slideLayout240.xml"/><Relationship Id="rId23" Type="http://schemas.openxmlformats.org/officeDocument/2006/relationships/slideLayout" Target="../slideLayouts/slideLayout248.xml"/><Relationship Id="rId28" Type="http://schemas.openxmlformats.org/officeDocument/2006/relationships/slideLayout" Target="../slideLayouts/slideLayout253.xml"/><Relationship Id="rId36" Type="http://schemas.openxmlformats.org/officeDocument/2006/relationships/slideLayout" Target="../slideLayouts/slideLayout261.xml"/><Relationship Id="rId49" Type="http://schemas.openxmlformats.org/officeDocument/2006/relationships/oleObject" Target="../embeddings/oleObject6.bin"/><Relationship Id="rId10" Type="http://schemas.openxmlformats.org/officeDocument/2006/relationships/slideLayout" Target="../slideLayouts/slideLayout235.xml"/><Relationship Id="rId19" Type="http://schemas.openxmlformats.org/officeDocument/2006/relationships/slideLayout" Target="../slideLayouts/slideLayout244.xml"/><Relationship Id="rId31" Type="http://schemas.openxmlformats.org/officeDocument/2006/relationships/slideLayout" Target="../slideLayouts/slideLayout256.xml"/><Relationship Id="rId44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29.xml"/><Relationship Id="rId9" Type="http://schemas.openxmlformats.org/officeDocument/2006/relationships/slideLayout" Target="../slideLayouts/slideLayout234.xml"/><Relationship Id="rId14" Type="http://schemas.openxmlformats.org/officeDocument/2006/relationships/slideLayout" Target="../slideLayouts/slideLayout239.xml"/><Relationship Id="rId22" Type="http://schemas.openxmlformats.org/officeDocument/2006/relationships/slideLayout" Target="../slideLayouts/slideLayout247.xml"/><Relationship Id="rId27" Type="http://schemas.openxmlformats.org/officeDocument/2006/relationships/slideLayout" Target="../slideLayouts/slideLayout252.xml"/><Relationship Id="rId30" Type="http://schemas.openxmlformats.org/officeDocument/2006/relationships/slideLayout" Target="../slideLayouts/slideLayout255.xml"/><Relationship Id="rId35" Type="http://schemas.openxmlformats.org/officeDocument/2006/relationships/slideLayout" Target="../slideLayouts/slideLayout260.xml"/><Relationship Id="rId43" Type="http://schemas.openxmlformats.org/officeDocument/2006/relationships/slideLayout" Target="../slideLayouts/slideLayout268.xml"/><Relationship Id="rId48" Type="http://schemas.openxmlformats.org/officeDocument/2006/relationships/tags" Target="../tags/tag7.xml"/><Relationship Id="rId8" Type="http://schemas.openxmlformats.org/officeDocument/2006/relationships/slideLayout" Target="../slideLayouts/slideLayout233.xml"/><Relationship Id="rId51" Type="http://schemas.openxmlformats.org/officeDocument/2006/relationships/image" Target="../media/image2.emf"/><Relationship Id="rId3" Type="http://schemas.openxmlformats.org/officeDocument/2006/relationships/slideLayout" Target="../slideLayouts/slideLayout228.xml"/><Relationship Id="rId12" Type="http://schemas.openxmlformats.org/officeDocument/2006/relationships/slideLayout" Target="../slideLayouts/slideLayout237.xml"/><Relationship Id="rId17" Type="http://schemas.openxmlformats.org/officeDocument/2006/relationships/slideLayout" Target="../slideLayouts/slideLayout242.xml"/><Relationship Id="rId25" Type="http://schemas.openxmlformats.org/officeDocument/2006/relationships/slideLayout" Target="../slideLayouts/slideLayout250.xml"/><Relationship Id="rId33" Type="http://schemas.openxmlformats.org/officeDocument/2006/relationships/slideLayout" Target="../slideLayouts/slideLayout258.xml"/><Relationship Id="rId38" Type="http://schemas.openxmlformats.org/officeDocument/2006/relationships/slideLayout" Target="../slideLayouts/slideLayout263.xml"/><Relationship Id="rId46" Type="http://schemas.openxmlformats.org/officeDocument/2006/relationships/theme" Target="../theme/theme6.xml"/><Relationship Id="rId20" Type="http://schemas.openxmlformats.org/officeDocument/2006/relationships/slideLayout" Target="../slideLayouts/slideLayout245.xml"/><Relationship Id="rId41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26.xml"/><Relationship Id="rId6" Type="http://schemas.openxmlformats.org/officeDocument/2006/relationships/slideLayout" Target="../slideLayouts/slideLayout23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3.xml"/><Relationship Id="rId18" Type="http://schemas.openxmlformats.org/officeDocument/2006/relationships/slideLayout" Target="../slideLayouts/slideLayout288.xml"/><Relationship Id="rId26" Type="http://schemas.openxmlformats.org/officeDocument/2006/relationships/slideLayout" Target="../slideLayouts/slideLayout296.xml"/><Relationship Id="rId39" Type="http://schemas.openxmlformats.org/officeDocument/2006/relationships/slideLayout" Target="../slideLayouts/slideLayout309.xml"/><Relationship Id="rId21" Type="http://schemas.openxmlformats.org/officeDocument/2006/relationships/slideLayout" Target="../slideLayouts/slideLayout291.xml"/><Relationship Id="rId34" Type="http://schemas.openxmlformats.org/officeDocument/2006/relationships/slideLayout" Target="../slideLayouts/slideLayout304.xml"/><Relationship Id="rId42" Type="http://schemas.openxmlformats.org/officeDocument/2006/relationships/slideLayout" Target="../slideLayouts/slideLayout312.xml"/><Relationship Id="rId47" Type="http://schemas.openxmlformats.org/officeDocument/2006/relationships/vmlDrawing" Target="../drawings/vmlDrawing7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277.xml"/><Relationship Id="rId2" Type="http://schemas.openxmlformats.org/officeDocument/2006/relationships/slideLayout" Target="../slideLayouts/slideLayout272.xml"/><Relationship Id="rId16" Type="http://schemas.openxmlformats.org/officeDocument/2006/relationships/slideLayout" Target="../slideLayouts/slideLayout286.xml"/><Relationship Id="rId29" Type="http://schemas.openxmlformats.org/officeDocument/2006/relationships/slideLayout" Target="../slideLayouts/slideLayout299.xml"/><Relationship Id="rId11" Type="http://schemas.openxmlformats.org/officeDocument/2006/relationships/slideLayout" Target="../slideLayouts/slideLayout281.xml"/><Relationship Id="rId24" Type="http://schemas.openxmlformats.org/officeDocument/2006/relationships/slideLayout" Target="../slideLayouts/slideLayout294.xml"/><Relationship Id="rId32" Type="http://schemas.openxmlformats.org/officeDocument/2006/relationships/slideLayout" Target="../slideLayouts/slideLayout302.xml"/><Relationship Id="rId37" Type="http://schemas.openxmlformats.org/officeDocument/2006/relationships/slideLayout" Target="../slideLayouts/slideLayout307.xml"/><Relationship Id="rId40" Type="http://schemas.openxmlformats.org/officeDocument/2006/relationships/slideLayout" Target="../slideLayouts/slideLayout310.xml"/><Relationship Id="rId45" Type="http://schemas.openxmlformats.org/officeDocument/2006/relationships/slideLayout" Target="../slideLayouts/slideLayout315.xml"/><Relationship Id="rId5" Type="http://schemas.openxmlformats.org/officeDocument/2006/relationships/slideLayout" Target="../slideLayouts/slideLayout275.xml"/><Relationship Id="rId15" Type="http://schemas.openxmlformats.org/officeDocument/2006/relationships/slideLayout" Target="../slideLayouts/slideLayout285.xml"/><Relationship Id="rId23" Type="http://schemas.openxmlformats.org/officeDocument/2006/relationships/slideLayout" Target="../slideLayouts/slideLayout293.xml"/><Relationship Id="rId28" Type="http://schemas.openxmlformats.org/officeDocument/2006/relationships/slideLayout" Target="../slideLayouts/slideLayout298.xml"/><Relationship Id="rId36" Type="http://schemas.openxmlformats.org/officeDocument/2006/relationships/slideLayout" Target="../slideLayouts/slideLayout306.xml"/><Relationship Id="rId49" Type="http://schemas.openxmlformats.org/officeDocument/2006/relationships/oleObject" Target="../embeddings/oleObject7.bin"/><Relationship Id="rId10" Type="http://schemas.openxmlformats.org/officeDocument/2006/relationships/slideLayout" Target="../slideLayouts/slideLayout280.xml"/><Relationship Id="rId19" Type="http://schemas.openxmlformats.org/officeDocument/2006/relationships/slideLayout" Target="../slideLayouts/slideLayout289.xml"/><Relationship Id="rId31" Type="http://schemas.openxmlformats.org/officeDocument/2006/relationships/slideLayout" Target="../slideLayouts/slideLayout301.xml"/><Relationship Id="rId44" Type="http://schemas.openxmlformats.org/officeDocument/2006/relationships/slideLayout" Target="../slideLayouts/slideLayout314.xml"/><Relationship Id="rId4" Type="http://schemas.openxmlformats.org/officeDocument/2006/relationships/slideLayout" Target="../slideLayouts/slideLayout274.xml"/><Relationship Id="rId9" Type="http://schemas.openxmlformats.org/officeDocument/2006/relationships/slideLayout" Target="../slideLayouts/slideLayout279.xml"/><Relationship Id="rId14" Type="http://schemas.openxmlformats.org/officeDocument/2006/relationships/slideLayout" Target="../slideLayouts/slideLayout284.xml"/><Relationship Id="rId22" Type="http://schemas.openxmlformats.org/officeDocument/2006/relationships/slideLayout" Target="../slideLayouts/slideLayout292.xml"/><Relationship Id="rId27" Type="http://schemas.openxmlformats.org/officeDocument/2006/relationships/slideLayout" Target="../slideLayouts/slideLayout297.xml"/><Relationship Id="rId30" Type="http://schemas.openxmlformats.org/officeDocument/2006/relationships/slideLayout" Target="../slideLayouts/slideLayout300.xml"/><Relationship Id="rId35" Type="http://schemas.openxmlformats.org/officeDocument/2006/relationships/slideLayout" Target="../slideLayouts/slideLayout305.xml"/><Relationship Id="rId43" Type="http://schemas.openxmlformats.org/officeDocument/2006/relationships/slideLayout" Target="../slideLayouts/slideLayout313.xml"/><Relationship Id="rId48" Type="http://schemas.openxmlformats.org/officeDocument/2006/relationships/tags" Target="../tags/tag8.xml"/><Relationship Id="rId8" Type="http://schemas.openxmlformats.org/officeDocument/2006/relationships/slideLayout" Target="../slideLayouts/slideLayout278.xml"/><Relationship Id="rId51" Type="http://schemas.openxmlformats.org/officeDocument/2006/relationships/image" Target="../media/image2.emf"/><Relationship Id="rId3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282.xml"/><Relationship Id="rId17" Type="http://schemas.openxmlformats.org/officeDocument/2006/relationships/slideLayout" Target="../slideLayouts/slideLayout287.xml"/><Relationship Id="rId25" Type="http://schemas.openxmlformats.org/officeDocument/2006/relationships/slideLayout" Target="../slideLayouts/slideLayout295.xml"/><Relationship Id="rId33" Type="http://schemas.openxmlformats.org/officeDocument/2006/relationships/slideLayout" Target="../slideLayouts/slideLayout303.xml"/><Relationship Id="rId38" Type="http://schemas.openxmlformats.org/officeDocument/2006/relationships/slideLayout" Target="../slideLayouts/slideLayout308.xml"/><Relationship Id="rId46" Type="http://schemas.openxmlformats.org/officeDocument/2006/relationships/theme" Target="../theme/theme7.xml"/><Relationship Id="rId20" Type="http://schemas.openxmlformats.org/officeDocument/2006/relationships/slideLayout" Target="../slideLayouts/slideLayout290.xml"/><Relationship Id="rId41" Type="http://schemas.openxmlformats.org/officeDocument/2006/relationships/slideLayout" Target="../slideLayouts/slideLayout311.xml"/><Relationship Id="rId1" Type="http://schemas.openxmlformats.org/officeDocument/2006/relationships/slideLayout" Target="../slideLayouts/slideLayout271.xml"/><Relationship Id="rId6" Type="http://schemas.openxmlformats.org/officeDocument/2006/relationships/slideLayout" Target="../slideLayouts/slideLayout27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3.xml"/><Relationship Id="rId13" Type="http://schemas.openxmlformats.org/officeDocument/2006/relationships/slideLayout" Target="../slideLayouts/slideLayout328.xml"/><Relationship Id="rId3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322.xml"/><Relationship Id="rId12" Type="http://schemas.openxmlformats.org/officeDocument/2006/relationships/slideLayout" Target="../slideLayouts/slideLayout327.xml"/><Relationship Id="rId2" Type="http://schemas.openxmlformats.org/officeDocument/2006/relationships/slideLayout" Target="../slideLayouts/slideLayout317.xml"/><Relationship Id="rId1" Type="http://schemas.openxmlformats.org/officeDocument/2006/relationships/slideLayout" Target="../slideLayouts/slideLayout316.xml"/><Relationship Id="rId6" Type="http://schemas.openxmlformats.org/officeDocument/2006/relationships/slideLayout" Target="../slideLayouts/slideLayout321.xml"/><Relationship Id="rId11" Type="http://schemas.openxmlformats.org/officeDocument/2006/relationships/slideLayout" Target="../slideLayouts/slideLayout326.xml"/><Relationship Id="rId5" Type="http://schemas.openxmlformats.org/officeDocument/2006/relationships/slideLayout" Target="../slideLayouts/slideLayout320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325.xml"/><Relationship Id="rId4" Type="http://schemas.openxmlformats.org/officeDocument/2006/relationships/slideLayout" Target="../slideLayouts/slideLayout319.xml"/><Relationship Id="rId9" Type="http://schemas.openxmlformats.org/officeDocument/2006/relationships/slideLayout" Target="../slideLayouts/slideLayout324.xml"/><Relationship Id="rId1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2187733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" name="think-cell Folie" r:id="rId49" imgW="270" imgH="270" progId="TCLayout.ActiveDocument.1">
                  <p:embed/>
                </p:oleObj>
              </mc:Choice>
              <mc:Fallback>
                <p:oleObj name="think-cell Foli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6080626" cy="750613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4950" y="6525344"/>
            <a:ext cx="1280324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AT" sz="1000" smtClean="0">
                <a:solidFill>
                  <a:srgbClr val="878786"/>
                </a:solidFill>
              </a:defRPr>
            </a:lvl1pPr>
          </a:lstStyle>
          <a:p>
            <a:fld id="{0B1B5B15-BEE4-4C87-8635-9334D6069033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565274" y="6525344"/>
            <a:ext cx="5064085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rgbClr val="87878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69263" y="6525344"/>
            <a:ext cx="38105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878786"/>
                </a:solidFill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289626" y="1571556"/>
            <a:ext cx="8568900" cy="4562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1" name="Grafik 13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8879" y="406859"/>
            <a:ext cx="1620000" cy="675356"/>
          </a:xfrm>
          <a:prstGeom prst="rect">
            <a:avLst/>
          </a:prstGeom>
        </p:spPr>
      </p:pic>
      <p:sp>
        <p:nvSpPr>
          <p:cNvPr id="9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pic>
        <p:nvPicPr>
          <p:cNvPr id="14" name="Grafik 6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923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  <p:sldLayoutId id="2147483882" r:id="rId28"/>
    <p:sldLayoutId id="2147483883" r:id="rId29"/>
    <p:sldLayoutId id="2147483884" r:id="rId30"/>
    <p:sldLayoutId id="2147483885" r:id="rId31"/>
    <p:sldLayoutId id="2147483886" r:id="rId32"/>
    <p:sldLayoutId id="2147483887" r:id="rId33"/>
    <p:sldLayoutId id="2147483888" r:id="rId34"/>
    <p:sldLayoutId id="2147483889" r:id="rId35"/>
    <p:sldLayoutId id="2147483890" r:id="rId36"/>
    <p:sldLayoutId id="2147483891" r:id="rId37"/>
    <p:sldLayoutId id="2147483892" r:id="rId38"/>
    <p:sldLayoutId id="2147483893" r:id="rId39"/>
    <p:sldLayoutId id="2147483894" r:id="rId40"/>
    <p:sldLayoutId id="2147483895" r:id="rId41"/>
    <p:sldLayoutId id="2147483896" r:id="rId42"/>
    <p:sldLayoutId id="2147483897" r:id="rId43"/>
    <p:sldLayoutId id="2147483898" r:id="rId44"/>
    <p:sldLayoutId id="2147483899" r:id="rId45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chemeClr val="tx2"/>
        </a:buClr>
        <a:buSzPct val="100000"/>
        <a:buFont typeface="Wingdings" panose="05000000000000000000" pitchFamily="2" charset="2"/>
        <a:buChar char="§"/>
        <a:tabLst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6213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8415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AT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2880" userDrawn="1">
          <p15:clr>
            <a:srgbClr val="F26B43"/>
          </p15:clr>
        </p15:guide>
        <p15:guide id="2" pos="5580" userDrawn="1">
          <p15:clr>
            <a:srgbClr val="F26B43"/>
          </p15:clr>
        </p15:guide>
        <p15:guide id="3" orient="horz" pos="3864" userDrawn="1">
          <p15:clr>
            <a:srgbClr val="F26B43"/>
          </p15:clr>
        </p15:guide>
        <p15:guide id="4" pos="986" userDrawn="1">
          <p15:clr>
            <a:srgbClr val="F26B43"/>
          </p15:clr>
        </p15:guide>
        <p15:guide id="5" orient="horz" pos="212" userDrawn="1">
          <p15:clr>
            <a:srgbClr val="F26B43"/>
          </p15:clr>
        </p15:guide>
        <p15:guide id="6" orient="horz" pos="4190" userDrawn="1">
          <p15:clr>
            <a:srgbClr val="F26B43"/>
          </p15:clr>
        </p15:guide>
        <p15:guide id="7" pos="182" userDrawn="1">
          <p15:clr>
            <a:srgbClr val="F26B43"/>
          </p15:clr>
        </p15:guide>
        <p15:guide id="8" pos="1100" userDrawn="1">
          <p15:clr>
            <a:srgbClr val="F26B43"/>
          </p15:clr>
        </p15:guide>
        <p15:guide id="9" pos="3741" userDrawn="1">
          <p15:clr>
            <a:srgbClr val="F26B43"/>
          </p15:clr>
        </p15:guide>
        <p15:guide id="10" pos="3855" userDrawn="1">
          <p15:clr>
            <a:srgbClr val="F26B43"/>
          </p15:clr>
        </p15:guide>
        <p15:guide id="11" pos="4661" userDrawn="1">
          <p15:clr>
            <a:srgbClr val="F26B43"/>
          </p15:clr>
        </p15:guide>
        <p15:guide id="12" pos="4773" userDrawn="1">
          <p15:clr>
            <a:srgbClr val="F26B43"/>
          </p15:clr>
        </p15:guide>
        <p15:guide id="13" pos="2936" userDrawn="1">
          <p15:clr>
            <a:srgbClr val="F26B43"/>
          </p15:clr>
        </p15:guide>
        <p15:guide id="14" pos="2823" userDrawn="1">
          <p15:clr>
            <a:srgbClr val="F26B43"/>
          </p15:clr>
        </p15:guide>
        <p15:guide id="15" pos="2019" userDrawn="1">
          <p15:clr>
            <a:srgbClr val="F26B43"/>
          </p15:clr>
        </p15:guide>
        <p15:guide id="16" pos="1904" userDrawn="1">
          <p15:clr>
            <a:srgbClr val="F26B43"/>
          </p15:clr>
        </p15:guide>
        <p15:guide id="17" orient="horz" pos="1988" userDrawn="1">
          <p15:clr>
            <a:srgbClr val="F26B43"/>
          </p15:clr>
        </p15:guide>
        <p15:guide id="18" orient="horz" pos="1932" userDrawn="1">
          <p15:clr>
            <a:srgbClr val="F26B43"/>
          </p15:clr>
        </p15:guide>
        <p15:guide id="19" orient="horz" pos="1504" userDrawn="1">
          <p15:clr>
            <a:srgbClr val="F26B43"/>
          </p15:clr>
        </p15:guide>
        <p15:guide id="20" orient="horz" pos="1448" userDrawn="1">
          <p15:clr>
            <a:srgbClr val="F26B43"/>
          </p15:clr>
        </p15:guide>
        <p15:guide id="21" orient="horz" pos="1022" userDrawn="1">
          <p15:clr>
            <a:srgbClr val="F26B43"/>
          </p15:clr>
        </p15:guide>
        <p15:guide id="22" orient="horz" pos="2414" userDrawn="1">
          <p15:clr>
            <a:srgbClr val="F26B43"/>
          </p15:clr>
        </p15:guide>
        <p15:guide id="23" orient="horz" pos="2470" userDrawn="1">
          <p15:clr>
            <a:srgbClr val="F26B43"/>
          </p15:clr>
        </p15:guide>
        <p15:guide id="24" orient="horz" pos="2898" userDrawn="1">
          <p15:clr>
            <a:srgbClr val="F26B43"/>
          </p15:clr>
        </p15:guide>
        <p15:guide id="25" orient="horz" pos="2954" userDrawn="1">
          <p15:clr>
            <a:srgbClr val="F26B43"/>
          </p15:clr>
        </p15:guide>
        <p15:guide id="26" orient="horz" pos="3380" userDrawn="1">
          <p15:clr>
            <a:srgbClr val="F26B43"/>
          </p15:clr>
        </p15:guide>
        <p15:guide id="27" orient="horz" pos="3436" userDrawn="1">
          <p15:clr>
            <a:srgbClr val="F26B43"/>
          </p15:clr>
        </p15:guide>
        <p15:guide id="28" pos="249" userDrawn="1">
          <p15:clr>
            <a:srgbClr val="F26B43"/>
          </p15:clr>
        </p15:guide>
        <p15:guide id="29" orient="horz" pos="651" userDrawn="1">
          <p15:clr>
            <a:srgbClr val="F26B43"/>
          </p15:clr>
        </p15:guide>
        <p15:guide id="30" pos="551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7017818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" name="think-cell Folie" r:id="rId49" imgW="270" imgH="270" progId="TCLayout.ActiveDocument.1">
                  <p:embed/>
                </p:oleObj>
              </mc:Choice>
              <mc:Fallback>
                <p:oleObj name="think-cell Foli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6080626" cy="750613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4950" y="6525344"/>
            <a:ext cx="1280324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AT" sz="1000" smtClean="0">
                <a:solidFill>
                  <a:srgbClr val="878786"/>
                </a:solidFill>
              </a:defRPr>
            </a:lvl1pPr>
          </a:lstStyle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565274" y="6525344"/>
            <a:ext cx="5064085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rgbClr val="87878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69263" y="6525344"/>
            <a:ext cx="38105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878786"/>
                </a:solidFill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289626" y="1571556"/>
            <a:ext cx="8568900" cy="4562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1" name="Grafik 13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8879" y="406859"/>
            <a:ext cx="1620000" cy="675356"/>
          </a:xfrm>
          <a:prstGeom prst="rect">
            <a:avLst/>
          </a:prstGeom>
        </p:spPr>
      </p:pic>
      <p:sp>
        <p:nvSpPr>
          <p:cNvPr id="9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pic>
        <p:nvPicPr>
          <p:cNvPr id="14" name="Grafik 6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663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  <p:sldLayoutId id="2147483912" r:id="rId12"/>
    <p:sldLayoutId id="2147483913" r:id="rId13"/>
    <p:sldLayoutId id="2147483914" r:id="rId14"/>
    <p:sldLayoutId id="2147483915" r:id="rId15"/>
    <p:sldLayoutId id="2147483916" r:id="rId16"/>
    <p:sldLayoutId id="2147483917" r:id="rId17"/>
    <p:sldLayoutId id="2147483918" r:id="rId18"/>
    <p:sldLayoutId id="2147483919" r:id="rId19"/>
    <p:sldLayoutId id="2147483920" r:id="rId20"/>
    <p:sldLayoutId id="2147483921" r:id="rId21"/>
    <p:sldLayoutId id="2147483922" r:id="rId22"/>
    <p:sldLayoutId id="2147483923" r:id="rId23"/>
    <p:sldLayoutId id="2147483924" r:id="rId24"/>
    <p:sldLayoutId id="2147483925" r:id="rId25"/>
    <p:sldLayoutId id="2147483926" r:id="rId26"/>
    <p:sldLayoutId id="2147483927" r:id="rId27"/>
    <p:sldLayoutId id="2147483928" r:id="rId28"/>
    <p:sldLayoutId id="2147483929" r:id="rId29"/>
    <p:sldLayoutId id="2147483930" r:id="rId30"/>
    <p:sldLayoutId id="2147483931" r:id="rId31"/>
    <p:sldLayoutId id="2147483932" r:id="rId32"/>
    <p:sldLayoutId id="2147483933" r:id="rId33"/>
    <p:sldLayoutId id="2147483934" r:id="rId34"/>
    <p:sldLayoutId id="2147483935" r:id="rId35"/>
    <p:sldLayoutId id="2147483936" r:id="rId36"/>
    <p:sldLayoutId id="2147483937" r:id="rId37"/>
    <p:sldLayoutId id="2147483938" r:id="rId38"/>
    <p:sldLayoutId id="2147483939" r:id="rId39"/>
    <p:sldLayoutId id="2147483940" r:id="rId40"/>
    <p:sldLayoutId id="2147483941" r:id="rId41"/>
    <p:sldLayoutId id="2147483942" r:id="rId42"/>
    <p:sldLayoutId id="2147483943" r:id="rId43"/>
    <p:sldLayoutId id="2147483944" r:id="rId44"/>
    <p:sldLayoutId id="2147483945" r:id="rId45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chemeClr val="tx2"/>
        </a:buClr>
        <a:buSzPct val="100000"/>
        <a:buFont typeface="Wingdings" panose="05000000000000000000" pitchFamily="2" charset="2"/>
        <a:buChar char="§"/>
        <a:tabLst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6213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8415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AT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2880" userDrawn="1">
          <p15:clr>
            <a:srgbClr val="F26B43"/>
          </p15:clr>
        </p15:guide>
        <p15:guide id="2" pos="5580" userDrawn="1">
          <p15:clr>
            <a:srgbClr val="F26B43"/>
          </p15:clr>
        </p15:guide>
        <p15:guide id="3" orient="horz" pos="3864" userDrawn="1">
          <p15:clr>
            <a:srgbClr val="F26B43"/>
          </p15:clr>
        </p15:guide>
        <p15:guide id="4" pos="986" userDrawn="1">
          <p15:clr>
            <a:srgbClr val="F26B43"/>
          </p15:clr>
        </p15:guide>
        <p15:guide id="5" orient="horz" pos="212" userDrawn="1">
          <p15:clr>
            <a:srgbClr val="F26B43"/>
          </p15:clr>
        </p15:guide>
        <p15:guide id="6" orient="horz" pos="4190" userDrawn="1">
          <p15:clr>
            <a:srgbClr val="F26B43"/>
          </p15:clr>
        </p15:guide>
        <p15:guide id="7" pos="182" userDrawn="1">
          <p15:clr>
            <a:srgbClr val="F26B43"/>
          </p15:clr>
        </p15:guide>
        <p15:guide id="8" pos="1100" userDrawn="1">
          <p15:clr>
            <a:srgbClr val="F26B43"/>
          </p15:clr>
        </p15:guide>
        <p15:guide id="9" pos="3741" userDrawn="1">
          <p15:clr>
            <a:srgbClr val="F26B43"/>
          </p15:clr>
        </p15:guide>
        <p15:guide id="10" pos="3855" userDrawn="1">
          <p15:clr>
            <a:srgbClr val="F26B43"/>
          </p15:clr>
        </p15:guide>
        <p15:guide id="11" pos="4661" userDrawn="1">
          <p15:clr>
            <a:srgbClr val="F26B43"/>
          </p15:clr>
        </p15:guide>
        <p15:guide id="12" pos="4773" userDrawn="1">
          <p15:clr>
            <a:srgbClr val="F26B43"/>
          </p15:clr>
        </p15:guide>
        <p15:guide id="13" pos="2936" userDrawn="1">
          <p15:clr>
            <a:srgbClr val="F26B43"/>
          </p15:clr>
        </p15:guide>
        <p15:guide id="14" pos="2823" userDrawn="1">
          <p15:clr>
            <a:srgbClr val="F26B43"/>
          </p15:clr>
        </p15:guide>
        <p15:guide id="15" pos="2019" userDrawn="1">
          <p15:clr>
            <a:srgbClr val="F26B43"/>
          </p15:clr>
        </p15:guide>
        <p15:guide id="16" pos="1904" userDrawn="1">
          <p15:clr>
            <a:srgbClr val="F26B43"/>
          </p15:clr>
        </p15:guide>
        <p15:guide id="17" orient="horz" pos="1988" userDrawn="1">
          <p15:clr>
            <a:srgbClr val="F26B43"/>
          </p15:clr>
        </p15:guide>
        <p15:guide id="18" orient="horz" pos="1932" userDrawn="1">
          <p15:clr>
            <a:srgbClr val="F26B43"/>
          </p15:clr>
        </p15:guide>
        <p15:guide id="19" orient="horz" pos="1504" userDrawn="1">
          <p15:clr>
            <a:srgbClr val="F26B43"/>
          </p15:clr>
        </p15:guide>
        <p15:guide id="20" orient="horz" pos="1448" userDrawn="1">
          <p15:clr>
            <a:srgbClr val="F26B43"/>
          </p15:clr>
        </p15:guide>
        <p15:guide id="21" orient="horz" pos="1022" userDrawn="1">
          <p15:clr>
            <a:srgbClr val="F26B43"/>
          </p15:clr>
        </p15:guide>
        <p15:guide id="22" orient="horz" pos="2414" userDrawn="1">
          <p15:clr>
            <a:srgbClr val="F26B43"/>
          </p15:clr>
        </p15:guide>
        <p15:guide id="23" orient="horz" pos="2470" userDrawn="1">
          <p15:clr>
            <a:srgbClr val="F26B43"/>
          </p15:clr>
        </p15:guide>
        <p15:guide id="24" orient="horz" pos="2898" userDrawn="1">
          <p15:clr>
            <a:srgbClr val="F26B43"/>
          </p15:clr>
        </p15:guide>
        <p15:guide id="25" orient="horz" pos="2954" userDrawn="1">
          <p15:clr>
            <a:srgbClr val="F26B43"/>
          </p15:clr>
        </p15:guide>
        <p15:guide id="26" orient="horz" pos="3380" userDrawn="1">
          <p15:clr>
            <a:srgbClr val="F26B43"/>
          </p15:clr>
        </p15:guide>
        <p15:guide id="27" orient="horz" pos="3436" userDrawn="1">
          <p15:clr>
            <a:srgbClr val="F26B43"/>
          </p15:clr>
        </p15:guide>
        <p15:guide id="28" pos="249" userDrawn="1">
          <p15:clr>
            <a:srgbClr val="F26B43"/>
          </p15:clr>
        </p15:guide>
        <p15:guide id="29" orient="horz" pos="651" userDrawn="1">
          <p15:clr>
            <a:srgbClr val="F26B43"/>
          </p15:clr>
        </p15:guide>
        <p15:guide id="30" pos="551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9375350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9" name="think-cell Folie" r:id="rId49" imgW="270" imgH="270" progId="TCLayout.ActiveDocument.1">
                  <p:embed/>
                </p:oleObj>
              </mc:Choice>
              <mc:Fallback>
                <p:oleObj name="think-cell Foli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6080626" cy="750613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4950" y="6525344"/>
            <a:ext cx="1280324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AT" sz="1000" smtClean="0">
                <a:solidFill>
                  <a:srgbClr val="878786"/>
                </a:solidFill>
              </a:defRPr>
            </a:lvl1pPr>
          </a:lstStyle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565274" y="6525344"/>
            <a:ext cx="5064085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rgbClr val="87878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69263" y="6525344"/>
            <a:ext cx="38105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878786"/>
                </a:solidFill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289626" y="1571556"/>
            <a:ext cx="8568900" cy="4562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1" name="Grafik 13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8879" y="406859"/>
            <a:ext cx="1620000" cy="675356"/>
          </a:xfrm>
          <a:prstGeom prst="rect">
            <a:avLst/>
          </a:prstGeom>
        </p:spPr>
      </p:pic>
      <p:sp>
        <p:nvSpPr>
          <p:cNvPr id="9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pic>
        <p:nvPicPr>
          <p:cNvPr id="14" name="Grafik 6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02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  <p:sldLayoutId id="2147483948" r:id="rId2"/>
    <p:sldLayoutId id="2147483949" r:id="rId3"/>
    <p:sldLayoutId id="2147483950" r:id="rId4"/>
    <p:sldLayoutId id="2147483951" r:id="rId5"/>
    <p:sldLayoutId id="2147483952" r:id="rId6"/>
    <p:sldLayoutId id="2147483953" r:id="rId7"/>
    <p:sldLayoutId id="2147483954" r:id="rId8"/>
    <p:sldLayoutId id="2147483955" r:id="rId9"/>
    <p:sldLayoutId id="2147483956" r:id="rId10"/>
    <p:sldLayoutId id="2147483957" r:id="rId11"/>
    <p:sldLayoutId id="2147483958" r:id="rId12"/>
    <p:sldLayoutId id="2147483959" r:id="rId13"/>
    <p:sldLayoutId id="2147483960" r:id="rId14"/>
    <p:sldLayoutId id="2147483961" r:id="rId15"/>
    <p:sldLayoutId id="2147483962" r:id="rId16"/>
    <p:sldLayoutId id="2147483963" r:id="rId17"/>
    <p:sldLayoutId id="2147483964" r:id="rId18"/>
    <p:sldLayoutId id="2147483965" r:id="rId19"/>
    <p:sldLayoutId id="2147483966" r:id="rId20"/>
    <p:sldLayoutId id="2147483967" r:id="rId21"/>
    <p:sldLayoutId id="2147483968" r:id="rId22"/>
    <p:sldLayoutId id="2147483969" r:id="rId23"/>
    <p:sldLayoutId id="2147483970" r:id="rId24"/>
    <p:sldLayoutId id="2147483971" r:id="rId25"/>
    <p:sldLayoutId id="2147483972" r:id="rId26"/>
    <p:sldLayoutId id="2147483973" r:id="rId27"/>
    <p:sldLayoutId id="2147483974" r:id="rId28"/>
    <p:sldLayoutId id="2147483975" r:id="rId29"/>
    <p:sldLayoutId id="2147483976" r:id="rId30"/>
    <p:sldLayoutId id="2147483977" r:id="rId31"/>
    <p:sldLayoutId id="2147483978" r:id="rId32"/>
    <p:sldLayoutId id="2147483979" r:id="rId33"/>
    <p:sldLayoutId id="2147483980" r:id="rId34"/>
    <p:sldLayoutId id="2147483981" r:id="rId35"/>
    <p:sldLayoutId id="2147483982" r:id="rId36"/>
    <p:sldLayoutId id="2147483983" r:id="rId37"/>
    <p:sldLayoutId id="2147483984" r:id="rId38"/>
    <p:sldLayoutId id="2147483985" r:id="rId39"/>
    <p:sldLayoutId id="2147483986" r:id="rId40"/>
    <p:sldLayoutId id="2147483987" r:id="rId41"/>
    <p:sldLayoutId id="2147483988" r:id="rId42"/>
    <p:sldLayoutId id="2147483989" r:id="rId43"/>
    <p:sldLayoutId id="2147483990" r:id="rId44"/>
    <p:sldLayoutId id="2147483991" r:id="rId45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chemeClr val="tx2"/>
        </a:buClr>
        <a:buSzPct val="100000"/>
        <a:buFont typeface="Wingdings" panose="05000000000000000000" pitchFamily="2" charset="2"/>
        <a:buChar char="§"/>
        <a:tabLst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6213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8415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AT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2880" userDrawn="1">
          <p15:clr>
            <a:srgbClr val="F26B43"/>
          </p15:clr>
        </p15:guide>
        <p15:guide id="2" pos="5580" userDrawn="1">
          <p15:clr>
            <a:srgbClr val="F26B43"/>
          </p15:clr>
        </p15:guide>
        <p15:guide id="3" orient="horz" pos="3864" userDrawn="1">
          <p15:clr>
            <a:srgbClr val="F26B43"/>
          </p15:clr>
        </p15:guide>
        <p15:guide id="4" pos="986" userDrawn="1">
          <p15:clr>
            <a:srgbClr val="F26B43"/>
          </p15:clr>
        </p15:guide>
        <p15:guide id="5" orient="horz" pos="212" userDrawn="1">
          <p15:clr>
            <a:srgbClr val="F26B43"/>
          </p15:clr>
        </p15:guide>
        <p15:guide id="6" orient="horz" pos="4190" userDrawn="1">
          <p15:clr>
            <a:srgbClr val="F26B43"/>
          </p15:clr>
        </p15:guide>
        <p15:guide id="7" pos="182" userDrawn="1">
          <p15:clr>
            <a:srgbClr val="F26B43"/>
          </p15:clr>
        </p15:guide>
        <p15:guide id="8" pos="1100" userDrawn="1">
          <p15:clr>
            <a:srgbClr val="F26B43"/>
          </p15:clr>
        </p15:guide>
        <p15:guide id="9" pos="3741" userDrawn="1">
          <p15:clr>
            <a:srgbClr val="F26B43"/>
          </p15:clr>
        </p15:guide>
        <p15:guide id="10" pos="3855" userDrawn="1">
          <p15:clr>
            <a:srgbClr val="F26B43"/>
          </p15:clr>
        </p15:guide>
        <p15:guide id="11" pos="4661" userDrawn="1">
          <p15:clr>
            <a:srgbClr val="F26B43"/>
          </p15:clr>
        </p15:guide>
        <p15:guide id="12" pos="4773" userDrawn="1">
          <p15:clr>
            <a:srgbClr val="F26B43"/>
          </p15:clr>
        </p15:guide>
        <p15:guide id="13" pos="2936" userDrawn="1">
          <p15:clr>
            <a:srgbClr val="F26B43"/>
          </p15:clr>
        </p15:guide>
        <p15:guide id="14" pos="2823" userDrawn="1">
          <p15:clr>
            <a:srgbClr val="F26B43"/>
          </p15:clr>
        </p15:guide>
        <p15:guide id="15" pos="2019" userDrawn="1">
          <p15:clr>
            <a:srgbClr val="F26B43"/>
          </p15:clr>
        </p15:guide>
        <p15:guide id="16" pos="1904" userDrawn="1">
          <p15:clr>
            <a:srgbClr val="F26B43"/>
          </p15:clr>
        </p15:guide>
        <p15:guide id="17" orient="horz" pos="1988" userDrawn="1">
          <p15:clr>
            <a:srgbClr val="F26B43"/>
          </p15:clr>
        </p15:guide>
        <p15:guide id="18" orient="horz" pos="1932" userDrawn="1">
          <p15:clr>
            <a:srgbClr val="F26B43"/>
          </p15:clr>
        </p15:guide>
        <p15:guide id="19" orient="horz" pos="1504" userDrawn="1">
          <p15:clr>
            <a:srgbClr val="F26B43"/>
          </p15:clr>
        </p15:guide>
        <p15:guide id="20" orient="horz" pos="1448" userDrawn="1">
          <p15:clr>
            <a:srgbClr val="F26B43"/>
          </p15:clr>
        </p15:guide>
        <p15:guide id="21" orient="horz" pos="1022" userDrawn="1">
          <p15:clr>
            <a:srgbClr val="F26B43"/>
          </p15:clr>
        </p15:guide>
        <p15:guide id="22" orient="horz" pos="2414" userDrawn="1">
          <p15:clr>
            <a:srgbClr val="F26B43"/>
          </p15:clr>
        </p15:guide>
        <p15:guide id="23" orient="horz" pos="2470" userDrawn="1">
          <p15:clr>
            <a:srgbClr val="F26B43"/>
          </p15:clr>
        </p15:guide>
        <p15:guide id="24" orient="horz" pos="2898" userDrawn="1">
          <p15:clr>
            <a:srgbClr val="F26B43"/>
          </p15:clr>
        </p15:guide>
        <p15:guide id="25" orient="horz" pos="2954" userDrawn="1">
          <p15:clr>
            <a:srgbClr val="F26B43"/>
          </p15:clr>
        </p15:guide>
        <p15:guide id="26" orient="horz" pos="3380" userDrawn="1">
          <p15:clr>
            <a:srgbClr val="F26B43"/>
          </p15:clr>
        </p15:guide>
        <p15:guide id="27" orient="horz" pos="3436" userDrawn="1">
          <p15:clr>
            <a:srgbClr val="F26B43"/>
          </p15:clr>
        </p15:guide>
        <p15:guide id="28" pos="249" userDrawn="1">
          <p15:clr>
            <a:srgbClr val="F26B43"/>
          </p15:clr>
        </p15:guide>
        <p15:guide id="29" orient="horz" pos="651" userDrawn="1">
          <p15:clr>
            <a:srgbClr val="F26B43"/>
          </p15:clr>
        </p15:guide>
        <p15:guide id="30" pos="5515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25520153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8" name="think-cell Folie" r:id="rId49" imgW="270" imgH="270" progId="TCLayout.ActiveDocument.1">
                  <p:embed/>
                </p:oleObj>
              </mc:Choice>
              <mc:Fallback>
                <p:oleObj name="think-cell Foli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6080626" cy="750613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4950" y="6525344"/>
            <a:ext cx="1280324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AT" sz="1000" smtClean="0">
                <a:solidFill>
                  <a:srgbClr val="878786"/>
                </a:solidFill>
              </a:defRPr>
            </a:lvl1pPr>
          </a:lstStyle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565274" y="6525344"/>
            <a:ext cx="5064085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rgbClr val="87878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69263" y="6525344"/>
            <a:ext cx="38105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878786"/>
                </a:solidFill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289626" y="1571556"/>
            <a:ext cx="8568900" cy="4562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1" name="Grafik 13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8879" y="406859"/>
            <a:ext cx="1620000" cy="675356"/>
          </a:xfrm>
          <a:prstGeom prst="rect">
            <a:avLst/>
          </a:prstGeom>
        </p:spPr>
      </p:pic>
      <p:sp>
        <p:nvSpPr>
          <p:cNvPr id="9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pic>
        <p:nvPicPr>
          <p:cNvPr id="14" name="Grafik 6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664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  <p:sldLayoutId id="2147484003" r:id="rId11"/>
    <p:sldLayoutId id="2147484004" r:id="rId12"/>
    <p:sldLayoutId id="2147484005" r:id="rId13"/>
    <p:sldLayoutId id="2147484006" r:id="rId14"/>
    <p:sldLayoutId id="2147484007" r:id="rId15"/>
    <p:sldLayoutId id="2147484008" r:id="rId16"/>
    <p:sldLayoutId id="2147484009" r:id="rId17"/>
    <p:sldLayoutId id="2147484010" r:id="rId18"/>
    <p:sldLayoutId id="2147484011" r:id="rId19"/>
    <p:sldLayoutId id="2147484012" r:id="rId20"/>
    <p:sldLayoutId id="2147484013" r:id="rId21"/>
    <p:sldLayoutId id="2147484014" r:id="rId22"/>
    <p:sldLayoutId id="2147484015" r:id="rId23"/>
    <p:sldLayoutId id="2147484016" r:id="rId24"/>
    <p:sldLayoutId id="2147484017" r:id="rId25"/>
    <p:sldLayoutId id="2147484018" r:id="rId26"/>
    <p:sldLayoutId id="2147484019" r:id="rId27"/>
    <p:sldLayoutId id="2147484020" r:id="rId28"/>
    <p:sldLayoutId id="2147484021" r:id="rId29"/>
    <p:sldLayoutId id="2147484022" r:id="rId30"/>
    <p:sldLayoutId id="2147484023" r:id="rId31"/>
    <p:sldLayoutId id="2147484024" r:id="rId32"/>
    <p:sldLayoutId id="2147484025" r:id="rId33"/>
    <p:sldLayoutId id="2147484026" r:id="rId34"/>
    <p:sldLayoutId id="2147484027" r:id="rId35"/>
    <p:sldLayoutId id="2147484028" r:id="rId36"/>
    <p:sldLayoutId id="2147484029" r:id="rId37"/>
    <p:sldLayoutId id="2147484030" r:id="rId38"/>
    <p:sldLayoutId id="2147484031" r:id="rId39"/>
    <p:sldLayoutId id="2147484032" r:id="rId40"/>
    <p:sldLayoutId id="2147484033" r:id="rId41"/>
    <p:sldLayoutId id="2147484034" r:id="rId42"/>
    <p:sldLayoutId id="2147484035" r:id="rId43"/>
    <p:sldLayoutId id="2147484036" r:id="rId44"/>
    <p:sldLayoutId id="2147484037" r:id="rId45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chemeClr val="tx2"/>
        </a:buClr>
        <a:buSzPct val="100000"/>
        <a:buFont typeface="Wingdings" panose="05000000000000000000" pitchFamily="2" charset="2"/>
        <a:buChar char="§"/>
        <a:tabLst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6213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8415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AT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2880" userDrawn="1">
          <p15:clr>
            <a:srgbClr val="F26B43"/>
          </p15:clr>
        </p15:guide>
        <p15:guide id="2" pos="5580" userDrawn="1">
          <p15:clr>
            <a:srgbClr val="F26B43"/>
          </p15:clr>
        </p15:guide>
        <p15:guide id="3" orient="horz" pos="3864" userDrawn="1">
          <p15:clr>
            <a:srgbClr val="F26B43"/>
          </p15:clr>
        </p15:guide>
        <p15:guide id="4" pos="986" userDrawn="1">
          <p15:clr>
            <a:srgbClr val="F26B43"/>
          </p15:clr>
        </p15:guide>
        <p15:guide id="5" orient="horz" pos="212" userDrawn="1">
          <p15:clr>
            <a:srgbClr val="F26B43"/>
          </p15:clr>
        </p15:guide>
        <p15:guide id="6" orient="horz" pos="4190" userDrawn="1">
          <p15:clr>
            <a:srgbClr val="F26B43"/>
          </p15:clr>
        </p15:guide>
        <p15:guide id="7" pos="182" userDrawn="1">
          <p15:clr>
            <a:srgbClr val="F26B43"/>
          </p15:clr>
        </p15:guide>
        <p15:guide id="8" pos="1100" userDrawn="1">
          <p15:clr>
            <a:srgbClr val="F26B43"/>
          </p15:clr>
        </p15:guide>
        <p15:guide id="9" pos="3741" userDrawn="1">
          <p15:clr>
            <a:srgbClr val="F26B43"/>
          </p15:clr>
        </p15:guide>
        <p15:guide id="10" pos="3855" userDrawn="1">
          <p15:clr>
            <a:srgbClr val="F26B43"/>
          </p15:clr>
        </p15:guide>
        <p15:guide id="11" pos="4661" userDrawn="1">
          <p15:clr>
            <a:srgbClr val="F26B43"/>
          </p15:clr>
        </p15:guide>
        <p15:guide id="12" pos="4773" userDrawn="1">
          <p15:clr>
            <a:srgbClr val="F26B43"/>
          </p15:clr>
        </p15:guide>
        <p15:guide id="13" pos="2936" userDrawn="1">
          <p15:clr>
            <a:srgbClr val="F26B43"/>
          </p15:clr>
        </p15:guide>
        <p15:guide id="14" pos="2823" userDrawn="1">
          <p15:clr>
            <a:srgbClr val="F26B43"/>
          </p15:clr>
        </p15:guide>
        <p15:guide id="15" pos="2019" userDrawn="1">
          <p15:clr>
            <a:srgbClr val="F26B43"/>
          </p15:clr>
        </p15:guide>
        <p15:guide id="16" pos="1904" userDrawn="1">
          <p15:clr>
            <a:srgbClr val="F26B43"/>
          </p15:clr>
        </p15:guide>
        <p15:guide id="17" orient="horz" pos="1988" userDrawn="1">
          <p15:clr>
            <a:srgbClr val="F26B43"/>
          </p15:clr>
        </p15:guide>
        <p15:guide id="18" orient="horz" pos="1932" userDrawn="1">
          <p15:clr>
            <a:srgbClr val="F26B43"/>
          </p15:clr>
        </p15:guide>
        <p15:guide id="19" orient="horz" pos="1504" userDrawn="1">
          <p15:clr>
            <a:srgbClr val="F26B43"/>
          </p15:clr>
        </p15:guide>
        <p15:guide id="20" orient="horz" pos="1448" userDrawn="1">
          <p15:clr>
            <a:srgbClr val="F26B43"/>
          </p15:clr>
        </p15:guide>
        <p15:guide id="21" orient="horz" pos="1022" userDrawn="1">
          <p15:clr>
            <a:srgbClr val="F26B43"/>
          </p15:clr>
        </p15:guide>
        <p15:guide id="22" orient="horz" pos="2414" userDrawn="1">
          <p15:clr>
            <a:srgbClr val="F26B43"/>
          </p15:clr>
        </p15:guide>
        <p15:guide id="23" orient="horz" pos="2470" userDrawn="1">
          <p15:clr>
            <a:srgbClr val="F26B43"/>
          </p15:clr>
        </p15:guide>
        <p15:guide id="24" orient="horz" pos="2898" userDrawn="1">
          <p15:clr>
            <a:srgbClr val="F26B43"/>
          </p15:clr>
        </p15:guide>
        <p15:guide id="25" orient="horz" pos="2954" userDrawn="1">
          <p15:clr>
            <a:srgbClr val="F26B43"/>
          </p15:clr>
        </p15:guide>
        <p15:guide id="26" orient="horz" pos="3380" userDrawn="1">
          <p15:clr>
            <a:srgbClr val="F26B43"/>
          </p15:clr>
        </p15:guide>
        <p15:guide id="27" orient="horz" pos="3436" userDrawn="1">
          <p15:clr>
            <a:srgbClr val="F26B43"/>
          </p15:clr>
        </p15:guide>
        <p15:guide id="28" pos="249" userDrawn="1">
          <p15:clr>
            <a:srgbClr val="F26B43"/>
          </p15:clr>
        </p15:guide>
        <p15:guide id="29" orient="horz" pos="651" userDrawn="1">
          <p15:clr>
            <a:srgbClr val="F26B43"/>
          </p15:clr>
        </p15:guide>
        <p15:guide id="30" pos="5515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29178820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2" name="think-cell Folie" r:id="rId49" imgW="270" imgH="270" progId="TCLayout.ActiveDocument.1">
                  <p:embed/>
                </p:oleObj>
              </mc:Choice>
              <mc:Fallback>
                <p:oleObj name="think-cell Foli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6080626" cy="750613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4950" y="6525344"/>
            <a:ext cx="1280324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AT" sz="1000" smtClean="0">
                <a:solidFill>
                  <a:srgbClr val="878786"/>
                </a:solidFill>
              </a:defRPr>
            </a:lvl1pPr>
          </a:lstStyle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565274" y="6525344"/>
            <a:ext cx="5064085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rgbClr val="87878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69263" y="6525344"/>
            <a:ext cx="38105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878786"/>
                </a:solidFill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289626" y="1571556"/>
            <a:ext cx="8568900" cy="4562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1" name="Grafik 13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8879" y="406859"/>
            <a:ext cx="1620000" cy="675356"/>
          </a:xfrm>
          <a:prstGeom prst="rect">
            <a:avLst/>
          </a:prstGeom>
        </p:spPr>
      </p:pic>
      <p:sp>
        <p:nvSpPr>
          <p:cNvPr id="9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pic>
        <p:nvPicPr>
          <p:cNvPr id="14" name="Grafik 6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02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40" r:id="rId2"/>
    <p:sldLayoutId id="2147484041" r:id="rId3"/>
    <p:sldLayoutId id="2147484042" r:id="rId4"/>
    <p:sldLayoutId id="2147484043" r:id="rId5"/>
    <p:sldLayoutId id="2147484044" r:id="rId6"/>
    <p:sldLayoutId id="2147484045" r:id="rId7"/>
    <p:sldLayoutId id="2147484046" r:id="rId8"/>
    <p:sldLayoutId id="2147484047" r:id="rId9"/>
    <p:sldLayoutId id="2147484048" r:id="rId10"/>
    <p:sldLayoutId id="2147484049" r:id="rId11"/>
    <p:sldLayoutId id="2147484050" r:id="rId12"/>
    <p:sldLayoutId id="2147484051" r:id="rId13"/>
    <p:sldLayoutId id="2147484052" r:id="rId14"/>
    <p:sldLayoutId id="2147484053" r:id="rId15"/>
    <p:sldLayoutId id="2147484054" r:id="rId16"/>
    <p:sldLayoutId id="2147484055" r:id="rId17"/>
    <p:sldLayoutId id="2147484056" r:id="rId18"/>
    <p:sldLayoutId id="2147484057" r:id="rId19"/>
    <p:sldLayoutId id="2147484058" r:id="rId20"/>
    <p:sldLayoutId id="2147484059" r:id="rId21"/>
    <p:sldLayoutId id="2147484060" r:id="rId22"/>
    <p:sldLayoutId id="2147484061" r:id="rId23"/>
    <p:sldLayoutId id="2147484062" r:id="rId24"/>
    <p:sldLayoutId id="2147484063" r:id="rId25"/>
    <p:sldLayoutId id="2147484064" r:id="rId26"/>
    <p:sldLayoutId id="2147484065" r:id="rId27"/>
    <p:sldLayoutId id="2147484066" r:id="rId28"/>
    <p:sldLayoutId id="2147484067" r:id="rId29"/>
    <p:sldLayoutId id="2147484068" r:id="rId30"/>
    <p:sldLayoutId id="2147484069" r:id="rId31"/>
    <p:sldLayoutId id="2147484070" r:id="rId32"/>
    <p:sldLayoutId id="2147484071" r:id="rId33"/>
    <p:sldLayoutId id="2147484072" r:id="rId34"/>
    <p:sldLayoutId id="2147484073" r:id="rId35"/>
    <p:sldLayoutId id="2147484074" r:id="rId36"/>
    <p:sldLayoutId id="2147484075" r:id="rId37"/>
    <p:sldLayoutId id="2147484076" r:id="rId38"/>
    <p:sldLayoutId id="2147484077" r:id="rId39"/>
    <p:sldLayoutId id="2147484078" r:id="rId40"/>
    <p:sldLayoutId id="2147484079" r:id="rId41"/>
    <p:sldLayoutId id="2147484080" r:id="rId42"/>
    <p:sldLayoutId id="2147484081" r:id="rId43"/>
    <p:sldLayoutId id="2147484082" r:id="rId44"/>
    <p:sldLayoutId id="2147484083" r:id="rId45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chemeClr val="tx2"/>
        </a:buClr>
        <a:buSzPct val="100000"/>
        <a:buFont typeface="Wingdings" panose="05000000000000000000" pitchFamily="2" charset="2"/>
        <a:buChar char="§"/>
        <a:tabLst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6213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8415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AT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2880" userDrawn="1">
          <p15:clr>
            <a:srgbClr val="F26B43"/>
          </p15:clr>
        </p15:guide>
        <p15:guide id="2" pos="5580" userDrawn="1">
          <p15:clr>
            <a:srgbClr val="F26B43"/>
          </p15:clr>
        </p15:guide>
        <p15:guide id="3" orient="horz" pos="3864" userDrawn="1">
          <p15:clr>
            <a:srgbClr val="F26B43"/>
          </p15:clr>
        </p15:guide>
        <p15:guide id="4" pos="986" userDrawn="1">
          <p15:clr>
            <a:srgbClr val="F26B43"/>
          </p15:clr>
        </p15:guide>
        <p15:guide id="5" orient="horz" pos="212" userDrawn="1">
          <p15:clr>
            <a:srgbClr val="F26B43"/>
          </p15:clr>
        </p15:guide>
        <p15:guide id="6" orient="horz" pos="4190" userDrawn="1">
          <p15:clr>
            <a:srgbClr val="F26B43"/>
          </p15:clr>
        </p15:guide>
        <p15:guide id="7" pos="182" userDrawn="1">
          <p15:clr>
            <a:srgbClr val="F26B43"/>
          </p15:clr>
        </p15:guide>
        <p15:guide id="8" pos="1100" userDrawn="1">
          <p15:clr>
            <a:srgbClr val="F26B43"/>
          </p15:clr>
        </p15:guide>
        <p15:guide id="9" pos="3741" userDrawn="1">
          <p15:clr>
            <a:srgbClr val="F26B43"/>
          </p15:clr>
        </p15:guide>
        <p15:guide id="10" pos="3855" userDrawn="1">
          <p15:clr>
            <a:srgbClr val="F26B43"/>
          </p15:clr>
        </p15:guide>
        <p15:guide id="11" pos="4661" userDrawn="1">
          <p15:clr>
            <a:srgbClr val="F26B43"/>
          </p15:clr>
        </p15:guide>
        <p15:guide id="12" pos="4773" userDrawn="1">
          <p15:clr>
            <a:srgbClr val="F26B43"/>
          </p15:clr>
        </p15:guide>
        <p15:guide id="13" pos="2936" userDrawn="1">
          <p15:clr>
            <a:srgbClr val="F26B43"/>
          </p15:clr>
        </p15:guide>
        <p15:guide id="14" pos="2823" userDrawn="1">
          <p15:clr>
            <a:srgbClr val="F26B43"/>
          </p15:clr>
        </p15:guide>
        <p15:guide id="15" pos="2019" userDrawn="1">
          <p15:clr>
            <a:srgbClr val="F26B43"/>
          </p15:clr>
        </p15:guide>
        <p15:guide id="16" pos="1904" userDrawn="1">
          <p15:clr>
            <a:srgbClr val="F26B43"/>
          </p15:clr>
        </p15:guide>
        <p15:guide id="17" orient="horz" pos="1988" userDrawn="1">
          <p15:clr>
            <a:srgbClr val="F26B43"/>
          </p15:clr>
        </p15:guide>
        <p15:guide id="18" orient="horz" pos="1932" userDrawn="1">
          <p15:clr>
            <a:srgbClr val="F26B43"/>
          </p15:clr>
        </p15:guide>
        <p15:guide id="19" orient="horz" pos="1504" userDrawn="1">
          <p15:clr>
            <a:srgbClr val="F26B43"/>
          </p15:clr>
        </p15:guide>
        <p15:guide id="20" orient="horz" pos="1448" userDrawn="1">
          <p15:clr>
            <a:srgbClr val="F26B43"/>
          </p15:clr>
        </p15:guide>
        <p15:guide id="21" orient="horz" pos="1022" userDrawn="1">
          <p15:clr>
            <a:srgbClr val="F26B43"/>
          </p15:clr>
        </p15:guide>
        <p15:guide id="22" orient="horz" pos="2414" userDrawn="1">
          <p15:clr>
            <a:srgbClr val="F26B43"/>
          </p15:clr>
        </p15:guide>
        <p15:guide id="23" orient="horz" pos="2470" userDrawn="1">
          <p15:clr>
            <a:srgbClr val="F26B43"/>
          </p15:clr>
        </p15:guide>
        <p15:guide id="24" orient="horz" pos="2898" userDrawn="1">
          <p15:clr>
            <a:srgbClr val="F26B43"/>
          </p15:clr>
        </p15:guide>
        <p15:guide id="25" orient="horz" pos="2954" userDrawn="1">
          <p15:clr>
            <a:srgbClr val="F26B43"/>
          </p15:clr>
        </p15:guide>
        <p15:guide id="26" orient="horz" pos="3380" userDrawn="1">
          <p15:clr>
            <a:srgbClr val="F26B43"/>
          </p15:clr>
        </p15:guide>
        <p15:guide id="27" orient="horz" pos="3436" userDrawn="1">
          <p15:clr>
            <a:srgbClr val="F26B43"/>
          </p15:clr>
        </p15:guide>
        <p15:guide id="28" pos="249" userDrawn="1">
          <p15:clr>
            <a:srgbClr val="F26B43"/>
          </p15:clr>
        </p15:guide>
        <p15:guide id="29" orient="horz" pos="651" userDrawn="1">
          <p15:clr>
            <a:srgbClr val="F26B43"/>
          </p15:clr>
        </p15:guide>
        <p15:guide id="30" pos="5515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744448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5" name="think-cell Folie" r:id="rId49" imgW="270" imgH="270" progId="TCLayout.ActiveDocument.1">
                  <p:embed/>
                </p:oleObj>
              </mc:Choice>
              <mc:Fallback>
                <p:oleObj name="think-cell Foli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6080626" cy="750613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4950" y="6525344"/>
            <a:ext cx="1280324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AT" sz="1000" smtClean="0">
                <a:solidFill>
                  <a:srgbClr val="878786"/>
                </a:solidFill>
              </a:defRPr>
            </a:lvl1pPr>
          </a:lstStyle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565274" y="6525344"/>
            <a:ext cx="5064085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rgbClr val="87878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69263" y="6525344"/>
            <a:ext cx="38105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878786"/>
                </a:solidFill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289626" y="1571556"/>
            <a:ext cx="8568900" cy="4562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1" name="Grafik 13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8879" y="406859"/>
            <a:ext cx="1620000" cy="675356"/>
          </a:xfrm>
          <a:prstGeom prst="rect">
            <a:avLst/>
          </a:prstGeom>
        </p:spPr>
      </p:pic>
      <p:sp>
        <p:nvSpPr>
          <p:cNvPr id="9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pic>
        <p:nvPicPr>
          <p:cNvPr id="14" name="Grafik 6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411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  <p:sldLayoutId id="2147484098" r:id="rId14"/>
    <p:sldLayoutId id="2147484099" r:id="rId15"/>
    <p:sldLayoutId id="2147484100" r:id="rId16"/>
    <p:sldLayoutId id="2147484101" r:id="rId17"/>
    <p:sldLayoutId id="2147484102" r:id="rId18"/>
    <p:sldLayoutId id="2147484103" r:id="rId19"/>
    <p:sldLayoutId id="2147484104" r:id="rId20"/>
    <p:sldLayoutId id="2147484105" r:id="rId21"/>
    <p:sldLayoutId id="2147484106" r:id="rId22"/>
    <p:sldLayoutId id="2147484107" r:id="rId23"/>
    <p:sldLayoutId id="2147484108" r:id="rId24"/>
    <p:sldLayoutId id="2147484109" r:id="rId25"/>
    <p:sldLayoutId id="2147484110" r:id="rId26"/>
    <p:sldLayoutId id="2147484111" r:id="rId27"/>
    <p:sldLayoutId id="2147484112" r:id="rId28"/>
    <p:sldLayoutId id="2147484113" r:id="rId29"/>
    <p:sldLayoutId id="2147484114" r:id="rId30"/>
    <p:sldLayoutId id="2147484115" r:id="rId31"/>
    <p:sldLayoutId id="2147484116" r:id="rId32"/>
    <p:sldLayoutId id="2147484117" r:id="rId33"/>
    <p:sldLayoutId id="2147484118" r:id="rId34"/>
    <p:sldLayoutId id="2147484119" r:id="rId35"/>
    <p:sldLayoutId id="2147484120" r:id="rId36"/>
    <p:sldLayoutId id="2147484121" r:id="rId37"/>
    <p:sldLayoutId id="2147484122" r:id="rId38"/>
    <p:sldLayoutId id="2147484123" r:id="rId39"/>
    <p:sldLayoutId id="2147484124" r:id="rId40"/>
    <p:sldLayoutId id="2147484125" r:id="rId41"/>
    <p:sldLayoutId id="2147484126" r:id="rId42"/>
    <p:sldLayoutId id="2147484127" r:id="rId43"/>
    <p:sldLayoutId id="2147484128" r:id="rId44"/>
    <p:sldLayoutId id="2147484129" r:id="rId45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chemeClr val="tx2"/>
        </a:buClr>
        <a:buSzPct val="100000"/>
        <a:buFont typeface="Wingdings" panose="05000000000000000000" pitchFamily="2" charset="2"/>
        <a:buChar char="§"/>
        <a:tabLst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6213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8415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AT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2880" userDrawn="1">
          <p15:clr>
            <a:srgbClr val="F26B43"/>
          </p15:clr>
        </p15:guide>
        <p15:guide id="2" pos="5580" userDrawn="1">
          <p15:clr>
            <a:srgbClr val="F26B43"/>
          </p15:clr>
        </p15:guide>
        <p15:guide id="3" orient="horz" pos="3864" userDrawn="1">
          <p15:clr>
            <a:srgbClr val="F26B43"/>
          </p15:clr>
        </p15:guide>
        <p15:guide id="4" pos="986" userDrawn="1">
          <p15:clr>
            <a:srgbClr val="F26B43"/>
          </p15:clr>
        </p15:guide>
        <p15:guide id="5" orient="horz" pos="212" userDrawn="1">
          <p15:clr>
            <a:srgbClr val="F26B43"/>
          </p15:clr>
        </p15:guide>
        <p15:guide id="6" orient="horz" pos="4190" userDrawn="1">
          <p15:clr>
            <a:srgbClr val="F26B43"/>
          </p15:clr>
        </p15:guide>
        <p15:guide id="7" pos="182" userDrawn="1">
          <p15:clr>
            <a:srgbClr val="F26B43"/>
          </p15:clr>
        </p15:guide>
        <p15:guide id="8" pos="1100" userDrawn="1">
          <p15:clr>
            <a:srgbClr val="F26B43"/>
          </p15:clr>
        </p15:guide>
        <p15:guide id="9" pos="3741" userDrawn="1">
          <p15:clr>
            <a:srgbClr val="F26B43"/>
          </p15:clr>
        </p15:guide>
        <p15:guide id="10" pos="3855" userDrawn="1">
          <p15:clr>
            <a:srgbClr val="F26B43"/>
          </p15:clr>
        </p15:guide>
        <p15:guide id="11" pos="4661" userDrawn="1">
          <p15:clr>
            <a:srgbClr val="F26B43"/>
          </p15:clr>
        </p15:guide>
        <p15:guide id="12" pos="4773" userDrawn="1">
          <p15:clr>
            <a:srgbClr val="F26B43"/>
          </p15:clr>
        </p15:guide>
        <p15:guide id="13" pos="2936" userDrawn="1">
          <p15:clr>
            <a:srgbClr val="F26B43"/>
          </p15:clr>
        </p15:guide>
        <p15:guide id="14" pos="2823" userDrawn="1">
          <p15:clr>
            <a:srgbClr val="F26B43"/>
          </p15:clr>
        </p15:guide>
        <p15:guide id="15" pos="2019" userDrawn="1">
          <p15:clr>
            <a:srgbClr val="F26B43"/>
          </p15:clr>
        </p15:guide>
        <p15:guide id="16" pos="1904" userDrawn="1">
          <p15:clr>
            <a:srgbClr val="F26B43"/>
          </p15:clr>
        </p15:guide>
        <p15:guide id="17" orient="horz" pos="1988" userDrawn="1">
          <p15:clr>
            <a:srgbClr val="F26B43"/>
          </p15:clr>
        </p15:guide>
        <p15:guide id="18" orient="horz" pos="1932" userDrawn="1">
          <p15:clr>
            <a:srgbClr val="F26B43"/>
          </p15:clr>
        </p15:guide>
        <p15:guide id="19" orient="horz" pos="1504" userDrawn="1">
          <p15:clr>
            <a:srgbClr val="F26B43"/>
          </p15:clr>
        </p15:guide>
        <p15:guide id="20" orient="horz" pos="1448" userDrawn="1">
          <p15:clr>
            <a:srgbClr val="F26B43"/>
          </p15:clr>
        </p15:guide>
        <p15:guide id="21" orient="horz" pos="1022" userDrawn="1">
          <p15:clr>
            <a:srgbClr val="F26B43"/>
          </p15:clr>
        </p15:guide>
        <p15:guide id="22" orient="horz" pos="2414" userDrawn="1">
          <p15:clr>
            <a:srgbClr val="F26B43"/>
          </p15:clr>
        </p15:guide>
        <p15:guide id="23" orient="horz" pos="2470" userDrawn="1">
          <p15:clr>
            <a:srgbClr val="F26B43"/>
          </p15:clr>
        </p15:guide>
        <p15:guide id="24" orient="horz" pos="2898" userDrawn="1">
          <p15:clr>
            <a:srgbClr val="F26B43"/>
          </p15:clr>
        </p15:guide>
        <p15:guide id="25" orient="horz" pos="2954" userDrawn="1">
          <p15:clr>
            <a:srgbClr val="F26B43"/>
          </p15:clr>
        </p15:guide>
        <p15:guide id="26" orient="horz" pos="3380" userDrawn="1">
          <p15:clr>
            <a:srgbClr val="F26B43"/>
          </p15:clr>
        </p15:guide>
        <p15:guide id="27" orient="horz" pos="3436" userDrawn="1">
          <p15:clr>
            <a:srgbClr val="F26B43"/>
          </p15:clr>
        </p15:guide>
        <p15:guide id="28" pos="249" userDrawn="1">
          <p15:clr>
            <a:srgbClr val="F26B43"/>
          </p15:clr>
        </p15:guide>
        <p15:guide id="29" orient="horz" pos="651" userDrawn="1">
          <p15:clr>
            <a:srgbClr val="F26B43"/>
          </p15:clr>
        </p15:guide>
        <p15:guide id="30" pos="5515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34296049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2" name="think-cell Folie" r:id="rId49" imgW="270" imgH="270" progId="TCLayout.ActiveDocument.1">
                  <p:embed/>
                </p:oleObj>
              </mc:Choice>
              <mc:Fallback>
                <p:oleObj name="think-cell Foli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8393" y="353216"/>
            <a:ext cx="6080626" cy="750613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4950" y="6525344"/>
            <a:ext cx="1280324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de-AT" sz="1000" smtClean="0">
                <a:solidFill>
                  <a:srgbClr val="878786"/>
                </a:solidFill>
              </a:defRPr>
            </a:lvl1pPr>
          </a:lstStyle>
          <a:p>
            <a:fld id="{0B1B5B15-BEE4-4C87-8635-9334D6069033}" type="datetime1">
              <a:rPr lang="en-US"/>
              <a:pPr/>
              <a:t>5/20/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565274" y="6525344"/>
            <a:ext cx="5064085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rgbClr val="87878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69263" y="6525344"/>
            <a:ext cx="38105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878786"/>
                </a:solidFill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289626" y="1571556"/>
            <a:ext cx="8568900" cy="45624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1" name="Grafik 13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8879" y="406859"/>
            <a:ext cx="1620000" cy="675356"/>
          </a:xfrm>
          <a:prstGeom prst="rect">
            <a:avLst/>
          </a:prstGeom>
        </p:spPr>
      </p:pic>
      <p:sp>
        <p:nvSpPr>
          <p:cNvPr id="9" name="Rechteck 7"/>
          <p:cNvSpPr/>
          <p:nvPr/>
        </p:nvSpPr>
        <p:spPr>
          <a:xfrm>
            <a:off x="288924" y="336550"/>
            <a:ext cx="8574089" cy="815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30000"/>
              </a:solidFill>
            </a:endParaRPr>
          </a:p>
        </p:txBody>
      </p:sp>
      <p:pic>
        <p:nvPicPr>
          <p:cNvPr id="14" name="Grafik 6"/>
          <p:cNvPicPr>
            <a:picLocks noChangeAspect="1"/>
          </p:cNvPicPr>
          <p:nvPr/>
        </p:nvPicPr>
        <p:blipFill>
          <a:blip r:embed="rId5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2735" y="476672"/>
            <a:ext cx="1296144" cy="540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689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1" r:id="rId1"/>
    <p:sldLayoutId id="2147484132" r:id="rId2"/>
    <p:sldLayoutId id="2147484133" r:id="rId3"/>
    <p:sldLayoutId id="2147484134" r:id="rId4"/>
    <p:sldLayoutId id="2147484135" r:id="rId5"/>
    <p:sldLayoutId id="2147484136" r:id="rId6"/>
    <p:sldLayoutId id="2147484137" r:id="rId7"/>
    <p:sldLayoutId id="2147484138" r:id="rId8"/>
    <p:sldLayoutId id="2147484139" r:id="rId9"/>
    <p:sldLayoutId id="2147484140" r:id="rId10"/>
    <p:sldLayoutId id="2147484141" r:id="rId11"/>
    <p:sldLayoutId id="2147484142" r:id="rId12"/>
    <p:sldLayoutId id="2147484143" r:id="rId13"/>
    <p:sldLayoutId id="2147484144" r:id="rId14"/>
    <p:sldLayoutId id="2147484145" r:id="rId15"/>
    <p:sldLayoutId id="2147484146" r:id="rId16"/>
    <p:sldLayoutId id="2147484147" r:id="rId17"/>
    <p:sldLayoutId id="2147484148" r:id="rId18"/>
    <p:sldLayoutId id="2147484149" r:id="rId19"/>
    <p:sldLayoutId id="2147484150" r:id="rId20"/>
    <p:sldLayoutId id="2147484151" r:id="rId21"/>
    <p:sldLayoutId id="2147484152" r:id="rId22"/>
    <p:sldLayoutId id="2147484153" r:id="rId23"/>
    <p:sldLayoutId id="2147484154" r:id="rId24"/>
    <p:sldLayoutId id="2147484155" r:id="rId25"/>
    <p:sldLayoutId id="2147484156" r:id="rId26"/>
    <p:sldLayoutId id="2147484157" r:id="rId27"/>
    <p:sldLayoutId id="2147484158" r:id="rId28"/>
    <p:sldLayoutId id="2147484159" r:id="rId29"/>
    <p:sldLayoutId id="2147484160" r:id="rId30"/>
    <p:sldLayoutId id="2147484161" r:id="rId31"/>
    <p:sldLayoutId id="2147484162" r:id="rId32"/>
    <p:sldLayoutId id="2147484163" r:id="rId33"/>
    <p:sldLayoutId id="2147484164" r:id="rId34"/>
    <p:sldLayoutId id="2147484165" r:id="rId35"/>
    <p:sldLayoutId id="2147484166" r:id="rId36"/>
    <p:sldLayoutId id="2147484167" r:id="rId37"/>
    <p:sldLayoutId id="2147484168" r:id="rId38"/>
    <p:sldLayoutId id="2147484169" r:id="rId39"/>
    <p:sldLayoutId id="2147484170" r:id="rId40"/>
    <p:sldLayoutId id="2147484171" r:id="rId41"/>
    <p:sldLayoutId id="2147484172" r:id="rId42"/>
    <p:sldLayoutId id="2147484173" r:id="rId43"/>
    <p:sldLayoutId id="2147484174" r:id="rId44"/>
    <p:sldLayoutId id="2147484175" r:id="rId45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chemeClr val="tx2"/>
        </a:buClr>
        <a:buSzPct val="100000"/>
        <a:buFont typeface="Wingdings" panose="05000000000000000000" pitchFamily="2" charset="2"/>
        <a:buChar char="§"/>
        <a:tabLst/>
        <a:defRPr lang="de-DE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6213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/>
        <a:defRPr lang="de-DE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8415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de-AT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2880" userDrawn="1">
          <p15:clr>
            <a:srgbClr val="F26B43"/>
          </p15:clr>
        </p15:guide>
        <p15:guide id="2" pos="5580" userDrawn="1">
          <p15:clr>
            <a:srgbClr val="F26B43"/>
          </p15:clr>
        </p15:guide>
        <p15:guide id="3" orient="horz" pos="3864" userDrawn="1">
          <p15:clr>
            <a:srgbClr val="F26B43"/>
          </p15:clr>
        </p15:guide>
        <p15:guide id="4" pos="986" userDrawn="1">
          <p15:clr>
            <a:srgbClr val="F26B43"/>
          </p15:clr>
        </p15:guide>
        <p15:guide id="5" orient="horz" pos="212" userDrawn="1">
          <p15:clr>
            <a:srgbClr val="F26B43"/>
          </p15:clr>
        </p15:guide>
        <p15:guide id="6" orient="horz" pos="4190" userDrawn="1">
          <p15:clr>
            <a:srgbClr val="F26B43"/>
          </p15:clr>
        </p15:guide>
        <p15:guide id="7" pos="182" userDrawn="1">
          <p15:clr>
            <a:srgbClr val="F26B43"/>
          </p15:clr>
        </p15:guide>
        <p15:guide id="8" pos="1100" userDrawn="1">
          <p15:clr>
            <a:srgbClr val="F26B43"/>
          </p15:clr>
        </p15:guide>
        <p15:guide id="9" pos="3741" userDrawn="1">
          <p15:clr>
            <a:srgbClr val="F26B43"/>
          </p15:clr>
        </p15:guide>
        <p15:guide id="10" pos="3855" userDrawn="1">
          <p15:clr>
            <a:srgbClr val="F26B43"/>
          </p15:clr>
        </p15:guide>
        <p15:guide id="11" pos="4661" userDrawn="1">
          <p15:clr>
            <a:srgbClr val="F26B43"/>
          </p15:clr>
        </p15:guide>
        <p15:guide id="12" pos="4773" userDrawn="1">
          <p15:clr>
            <a:srgbClr val="F26B43"/>
          </p15:clr>
        </p15:guide>
        <p15:guide id="13" pos="2936" userDrawn="1">
          <p15:clr>
            <a:srgbClr val="F26B43"/>
          </p15:clr>
        </p15:guide>
        <p15:guide id="14" pos="2823" userDrawn="1">
          <p15:clr>
            <a:srgbClr val="F26B43"/>
          </p15:clr>
        </p15:guide>
        <p15:guide id="15" pos="2019" userDrawn="1">
          <p15:clr>
            <a:srgbClr val="F26B43"/>
          </p15:clr>
        </p15:guide>
        <p15:guide id="16" pos="1904" userDrawn="1">
          <p15:clr>
            <a:srgbClr val="F26B43"/>
          </p15:clr>
        </p15:guide>
        <p15:guide id="17" orient="horz" pos="1988" userDrawn="1">
          <p15:clr>
            <a:srgbClr val="F26B43"/>
          </p15:clr>
        </p15:guide>
        <p15:guide id="18" orient="horz" pos="1932" userDrawn="1">
          <p15:clr>
            <a:srgbClr val="F26B43"/>
          </p15:clr>
        </p15:guide>
        <p15:guide id="19" orient="horz" pos="1504" userDrawn="1">
          <p15:clr>
            <a:srgbClr val="F26B43"/>
          </p15:clr>
        </p15:guide>
        <p15:guide id="20" orient="horz" pos="1448" userDrawn="1">
          <p15:clr>
            <a:srgbClr val="F26B43"/>
          </p15:clr>
        </p15:guide>
        <p15:guide id="21" orient="horz" pos="1022" userDrawn="1">
          <p15:clr>
            <a:srgbClr val="F26B43"/>
          </p15:clr>
        </p15:guide>
        <p15:guide id="22" orient="horz" pos="2414" userDrawn="1">
          <p15:clr>
            <a:srgbClr val="F26B43"/>
          </p15:clr>
        </p15:guide>
        <p15:guide id="23" orient="horz" pos="2470" userDrawn="1">
          <p15:clr>
            <a:srgbClr val="F26B43"/>
          </p15:clr>
        </p15:guide>
        <p15:guide id="24" orient="horz" pos="2898" userDrawn="1">
          <p15:clr>
            <a:srgbClr val="F26B43"/>
          </p15:clr>
        </p15:guide>
        <p15:guide id="25" orient="horz" pos="2954" userDrawn="1">
          <p15:clr>
            <a:srgbClr val="F26B43"/>
          </p15:clr>
        </p15:guide>
        <p15:guide id="26" orient="horz" pos="3380" userDrawn="1">
          <p15:clr>
            <a:srgbClr val="F26B43"/>
          </p15:clr>
        </p15:guide>
        <p15:guide id="27" orient="horz" pos="3436" userDrawn="1">
          <p15:clr>
            <a:srgbClr val="F26B43"/>
          </p15:clr>
        </p15:guide>
        <p15:guide id="28" pos="249" userDrawn="1">
          <p15:clr>
            <a:srgbClr val="F26B43"/>
          </p15:clr>
        </p15:guide>
        <p15:guide id="29" orient="horz" pos="651" userDrawn="1">
          <p15:clr>
            <a:srgbClr val="F26B43"/>
          </p15:clr>
        </p15:guide>
        <p15:guide id="30" pos="5515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9" descr="image001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550" y="6337300"/>
            <a:ext cx="611188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/>
        </p:nvCxnSpPr>
        <p:spPr>
          <a:xfrm>
            <a:off x="0" y="6308725"/>
            <a:ext cx="9144000" cy="158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5" name="Rectangle 1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7950" y="6381750"/>
            <a:ext cx="5976938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 Narrow" pitchFamily="34" charset="0"/>
                <a:cs typeface="Arial" charset="0"/>
              </a:defRPr>
            </a:lvl1pPr>
          </a:lstStyle>
          <a:p>
            <a:fld id="{0B1B5B15-BEE4-4C87-8635-9334D6069033}" type="datetime1">
              <a:rPr lang="en-US" smtClean="0"/>
              <a:t>5/20/2019</a:t>
            </a:fld>
            <a:endParaRPr lang="en-US" dirty="0"/>
          </a:p>
        </p:txBody>
      </p:sp>
      <p:sp>
        <p:nvSpPr>
          <p:cNvPr id="1029" name="Rectangle 12"/>
          <p:cNvSpPr>
            <a:spLocks noChangeArrowheads="1"/>
          </p:cNvSpPr>
          <p:nvPr/>
        </p:nvSpPr>
        <p:spPr bwMode="auto">
          <a:xfrm>
            <a:off x="6011863" y="6381750"/>
            <a:ext cx="1944687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hr-HR" altLang="sr-Latn-RS" sz="1400" dirty="0"/>
              <a:t>HKIG – Opatija 2019.</a:t>
            </a:r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26400" y="6381750"/>
            <a:ext cx="1117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2000" smtClean="0">
                <a:latin typeface="Verdana" panose="020B0604030504040204" pitchFamily="34" charset="0"/>
              </a:defRPr>
            </a:lvl1pPr>
          </a:lstStyle>
          <a:p>
            <a:fld id="{91013E13-6C89-4142-9FB5-2F8CD69461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797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1" r:id="rId1"/>
    <p:sldLayoutId id="2147484182" r:id="rId2"/>
    <p:sldLayoutId id="2147484183" r:id="rId3"/>
    <p:sldLayoutId id="2147484184" r:id="rId4"/>
    <p:sldLayoutId id="2147484185" r:id="rId5"/>
    <p:sldLayoutId id="2147484187" r:id="rId6"/>
    <p:sldLayoutId id="2147484188" r:id="rId7"/>
    <p:sldLayoutId id="2147484189" r:id="rId8"/>
    <p:sldLayoutId id="2147484190" r:id="rId9"/>
    <p:sldLayoutId id="2147484191" r:id="rId10"/>
    <p:sldLayoutId id="2147484192" r:id="rId11"/>
    <p:sldLayoutId id="2147484193" r:id="rId12"/>
    <p:sldLayoutId id="2147484194" r:id="rId13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C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5580" userDrawn="1">
          <p15:clr>
            <a:srgbClr val="F26B43"/>
          </p15:clr>
        </p15:guide>
        <p15:guide id="4" orient="horz" pos="3864" userDrawn="1">
          <p15:clr>
            <a:srgbClr val="F26B43"/>
          </p15:clr>
        </p15:guide>
        <p15:guide id="5" pos="986" userDrawn="1">
          <p15:clr>
            <a:srgbClr val="F26B43"/>
          </p15:clr>
        </p15:guide>
        <p15:guide id="6" orient="horz" pos="212" userDrawn="1">
          <p15:clr>
            <a:srgbClr val="F26B43"/>
          </p15:clr>
        </p15:guide>
        <p15:guide id="7" orient="horz" pos="4190" userDrawn="1">
          <p15:clr>
            <a:srgbClr val="F26B43"/>
          </p15:clr>
        </p15:guide>
        <p15:guide id="8" pos="182" userDrawn="1">
          <p15:clr>
            <a:srgbClr val="F26B43"/>
          </p15:clr>
        </p15:guide>
        <p15:guide id="9" pos="1100" userDrawn="1">
          <p15:clr>
            <a:srgbClr val="F26B43"/>
          </p15:clr>
        </p15:guide>
        <p15:guide id="10" pos="3741" userDrawn="1">
          <p15:clr>
            <a:srgbClr val="F26B43"/>
          </p15:clr>
        </p15:guide>
        <p15:guide id="11" pos="3855" userDrawn="1">
          <p15:clr>
            <a:srgbClr val="F26B43"/>
          </p15:clr>
        </p15:guide>
        <p15:guide id="12" pos="4661" userDrawn="1">
          <p15:clr>
            <a:srgbClr val="F26B43"/>
          </p15:clr>
        </p15:guide>
        <p15:guide id="13" pos="4773" userDrawn="1">
          <p15:clr>
            <a:srgbClr val="F26B43"/>
          </p15:clr>
        </p15:guide>
        <p15:guide id="14" pos="2936" userDrawn="1">
          <p15:clr>
            <a:srgbClr val="F26B43"/>
          </p15:clr>
        </p15:guide>
        <p15:guide id="15" pos="2823" userDrawn="1">
          <p15:clr>
            <a:srgbClr val="F26B43"/>
          </p15:clr>
        </p15:guide>
        <p15:guide id="16" pos="2019" userDrawn="1">
          <p15:clr>
            <a:srgbClr val="F26B43"/>
          </p15:clr>
        </p15:guide>
        <p15:guide id="17" pos="1904" userDrawn="1">
          <p15:clr>
            <a:srgbClr val="F26B43"/>
          </p15:clr>
        </p15:guide>
        <p15:guide id="18" orient="horz" pos="1988" userDrawn="1">
          <p15:clr>
            <a:srgbClr val="F26B43"/>
          </p15:clr>
        </p15:guide>
        <p15:guide id="19" orient="horz" pos="1932" userDrawn="1">
          <p15:clr>
            <a:srgbClr val="F26B43"/>
          </p15:clr>
        </p15:guide>
        <p15:guide id="20" orient="horz" pos="1504" userDrawn="1">
          <p15:clr>
            <a:srgbClr val="F26B43"/>
          </p15:clr>
        </p15:guide>
        <p15:guide id="21" orient="horz" pos="1448" userDrawn="1">
          <p15:clr>
            <a:srgbClr val="F26B43"/>
          </p15:clr>
        </p15:guide>
        <p15:guide id="22" orient="horz" pos="1022" userDrawn="1">
          <p15:clr>
            <a:srgbClr val="F26B43"/>
          </p15:clr>
        </p15:guide>
        <p15:guide id="23" orient="horz" pos="2414" userDrawn="1">
          <p15:clr>
            <a:srgbClr val="F26B43"/>
          </p15:clr>
        </p15:guide>
        <p15:guide id="24" orient="horz" pos="2470" userDrawn="1">
          <p15:clr>
            <a:srgbClr val="F26B43"/>
          </p15:clr>
        </p15:guide>
        <p15:guide id="25" orient="horz" pos="2898" userDrawn="1">
          <p15:clr>
            <a:srgbClr val="F26B43"/>
          </p15:clr>
        </p15:guide>
        <p15:guide id="26" orient="horz" pos="2954" userDrawn="1">
          <p15:clr>
            <a:srgbClr val="F26B43"/>
          </p15:clr>
        </p15:guide>
        <p15:guide id="27" orient="horz" pos="3380" userDrawn="1">
          <p15:clr>
            <a:srgbClr val="F26B43"/>
          </p15:clr>
        </p15:guide>
        <p15:guide id="28" orient="horz" pos="3436" userDrawn="1">
          <p15:clr>
            <a:srgbClr val="F26B43"/>
          </p15:clr>
        </p15:guide>
        <p15:guide id="29" pos="249" userDrawn="1">
          <p15:clr>
            <a:srgbClr val="F26B43"/>
          </p15:clr>
        </p15:guide>
        <p15:guide id="30" orient="horz" pos="651" userDrawn="1">
          <p15:clr>
            <a:srgbClr val="F26B43"/>
          </p15:clr>
        </p15:guide>
        <p15:guide id="31" pos="551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320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2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thistory.org/db/hardware/sperry-rand/univac-1106" TargetMode="External"/><Relationship Id="rId7" Type="http://schemas.openxmlformats.org/officeDocument/2006/relationships/hyperlink" Target="https://www.google.com/search?q=VAX+11/780&amp;source=lnms&amp;tbm=isch&amp;sa=X&amp;ved=0ahUKEwiwh6TOoqfiAhXBtYsKHTZYDZwQ_AUIDigB&amp;biw=2560&amp;bih=1297#imgrc=0RNIMraaKHIGyM:" TargetMode="External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20.xml"/><Relationship Id="rId6" Type="http://schemas.openxmlformats.org/officeDocument/2006/relationships/image" Target="../media/image11.png"/><Relationship Id="rId5" Type="http://schemas.openxmlformats.org/officeDocument/2006/relationships/hyperlink" Target="https://www.google.com/search?q=PDP+11&amp;source=lnms&amp;tbm=isch&amp;sa=X&amp;ved=0ahUKEwjmvJSNoqfiAhUoiIsKHVceCzQQ_AUIDigB&amp;biw=2560&amp;bih=1297#imgrc=ZzZHfyn5qnCiwM:" TargetMode="External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thistory.org/db/hardware/sperry-rand/univac-1106" TargetMode="Externa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20.xml"/><Relationship Id="rId6" Type="http://schemas.openxmlformats.org/officeDocument/2006/relationships/hyperlink" Target="https://www.google.com/search?q=IBM-PC/XT&amp;source=lnms&amp;tbm=isch&amp;sa=X&amp;ved=0ahUKEwjts9yPpqfiAhVBpYsKHbJTDewQ_AUIDigB&amp;biw=2560&amp;bih=1297#imgrc=RpGOD83K3gzaWM:" TargetMode="External"/><Relationship Id="rId5" Type="http://schemas.openxmlformats.org/officeDocument/2006/relationships/image" Target="../media/image13.jpeg"/><Relationship Id="rId4" Type="http://schemas.openxmlformats.org/officeDocument/2006/relationships/hyperlink" Target="https://dribbble.com/shots/5655185-Apple-II-computer-low-poly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zervirano mjesto datuma 1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hr-HR" altLang="sr-Latn-RS">
                <a:latin typeface="Arial Narrow" panose="020B0606020202030204" pitchFamily="34" charset="0"/>
              </a:rPr>
              <a:t>Ime i prezime predavača</a:t>
            </a:r>
          </a:p>
        </p:txBody>
      </p:sp>
      <p:sp>
        <p:nvSpPr>
          <p:cNvPr id="5123" name="Rezervirano mjesto broja slajda 2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09DE799-DA9D-44F6-BE07-3F637AC10E48}" type="slidenum">
              <a:rPr lang="hr-HR" altLang="sr-Latn-RS">
                <a:latin typeface="Verdana" panose="020B0604030504040204" pitchFamily="34" charset="0"/>
              </a:rPr>
              <a:pPr/>
              <a:t>1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908050"/>
            <a:ext cx="9144000" cy="5949950"/>
          </a:xfrm>
          <a:prstGeom prst="rect">
            <a:avLst/>
          </a:prstGeom>
          <a:solidFill>
            <a:srgbClr val="112A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r-HR"/>
          </a:p>
        </p:txBody>
      </p:sp>
      <p:sp>
        <p:nvSpPr>
          <p:cNvPr id="5125" name="Title 5"/>
          <p:cNvSpPr>
            <a:spLocks noGrp="1"/>
          </p:cNvSpPr>
          <p:nvPr>
            <p:ph type="ctrTitle" idx="4294967295"/>
          </p:nvPr>
        </p:nvSpPr>
        <p:spPr bwMode="auto">
          <a:xfrm>
            <a:off x="467544" y="2071688"/>
            <a:ext cx="8676456" cy="147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en-GB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radnja</a:t>
            </a:r>
            <a:r>
              <a:rPr lang="en-GB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</a:t>
            </a:r>
            <a:r>
              <a:rPr lang="en-GB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umeričkom</a:t>
            </a:r>
            <a:r>
              <a:rPr lang="en-GB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liranju</a:t>
            </a:r>
            <a:r>
              <a:rPr lang="en-GB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otehničkih</a:t>
            </a:r>
            <a:r>
              <a:rPr lang="en-GB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nstrukcija</a:t>
            </a:r>
            <a:r>
              <a:rPr lang="en-GB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hr-HR" altLang="sr-Latn-RS" sz="5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26" name="Subtitle 6"/>
          <p:cNvSpPr>
            <a:spLocks noGrp="1"/>
          </p:cNvSpPr>
          <p:nvPr>
            <p:ph type="subTitle" idx="4294967295"/>
          </p:nvPr>
        </p:nvSpPr>
        <p:spPr bwMode="auto">
          <a:xfrm>
            <a:off x="214313" y="5572125"/>
            <a:ext cx="7643812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altLang="sr-Latn-RS" sz="1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anislav </a:t>
            </a:r>
            <a:r>
              <a:rPr lang="en-GB" altLang="sr-Latn-RS" sz="180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Škoro</a:t>
            </a:r>
            <a:r>
              <a:rPr lang="en-GB" altLang="sr-Latn-RS" sz="1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GB" altLang="sr-Latn-RS" sz="180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pl.ing.građ</a:t>
            </a:r>
            <a:r>
              <a:rPr lang="en-GB" altLang="sr-Latn-RS" sz="1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, </a:t>
            </a:r>
            <a:r>
              <a:rPr lang="en-GB" altLang="sr-Latn-RS" sz="180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Škoro</a:t>
            </a:r>
            <a:r>
              <a:rPr lang="en-GB" altLang="sr-Latn-RS" sz="1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d.o.o.. Zagreb</a:t>
            </a:r>
            <a:endParaRPr lang="hr-HR" altLang="sr-Latn-RS" sz="1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27" name="TextBox 3"/>
          <p:cNvSpPr txBox="1">
            <a:spLocks noChangeArrowheads="1"/>
          </p:cNvSpPr>
          <p:nvPr/>
        </p:nvSpPr>
        <p:spPr bwMode="auto">
          <a:xfrm>
            <a:off x="0" y="0"/>
            <a:ext cx="9144000" cy="85566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hr-HR" altLang="sr-Latn-R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HRVATSKA  KOMORA  INŽENJERA  GRAĐEVINARSTVA</a:t>
            </a:r>
          </a:p>
          <a:p>
            <a:pPr eaLnBrk="1" hangingPunct="1"/>
            <a:endParaRPr lang="hr-HR" altLang="sr-Latn-RS" sz="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/>
            <a:r>
              <a:rPr lang="hr-HR" altLang="sr-Latn-R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Dani  Hrvatske komore inženjera  građevinarstva</a:t>
            </a:r>
            <a:r>
              <a:rPr lang="hr-HR" altLang="sr-Latn-R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  <a:r>
              <a:rPr lang="hr-HR" altLang="sr-Latn-R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Opatija, 2019.</a:t>
            </a:r>
          </a:p>
          <a:p>
            <a:pPr eaLnBrk="1" hangingPunct="1"/>
            <a:endParaRPr lang="hr-HR" altLang="sr-Latn-RS"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5429250"/>
            <a:ext cx="9144000" cy="158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9" name="Subtitle 6"/>
          <p:cNvSpPr txBox="1">
            <a:spLocks/>
          </p:cNvSpPr>
          <p:nvPr/>
        </p:nvSpPr>
        <p:spPr bwMode="auto">
          <a:xfrm>
            <a:off x="0" y="3857625"/>
            <a:ext cx="9144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GB" altLang="sr-Latn-RS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anislav </a:t>
            </a:r>
            <a:r>
              <a:rPr lang="en-GB" altLang="sr-Latn-RS" sz="2800" b="1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Škoro</a:t>
            </a:r>
            <a:endParaRPr lang="hr-HR" altLang="sr-Latn-RS" sz="28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130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142875"/>
            <a:ext cx="931863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8393" y="353216"/>
            <a:ext cx="7856015" cy="1275584"/>
          </a:xfrm>
        </p:spPr>
        <p:txBody>
          <a:bodyPr/>
          <a:lstStyle/>
          <a:p>
            <a:r>
              <a:rPr lang="en-GB" dirty="0" err="1"/>
              <a:t>Koje</a:t>
            </a:r>
            <a:r>
              <a:rPr lang="en-GB" dirty="0"/>
              <a:t> </a:t>
            </a:r>
            <a:r>
              <a:rPr lang="en-GB" dirty="0" err="1"/>
              <a:t>smo</a:t>
            </a:r>
            <a:r>
              <a:rPr lang="en-GB" dirty="0"/>
              <a:t> </a:t>
            </a:r>
            <a:r>
              <a:rPr lang="en-GB" dirty="0" err="1"/>
              <a:t>programe</a:t>
            </a:r>
            <a:r>
              <a:rPr lang="en-GB" dirty="0"/>
              <a:t> </a:t>
            </a:r>
            <a:r>
              <a:rPr lang="en-GB" dirty="0" err="1"/>
              <a:t>koristili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BBD83163-3067-4F7A-B13B-FC12598B1C8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8008912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sz="180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E709DE24-3391-4D07-881A-9AB38F172E4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4192488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b="1" dirty="0"/>
          </a:p>
          <a:p>
            <a:endParaRPr lang="en-GB" sz="1800" b="1" dirty="0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900DC54-D0C3-449F-9894-0CF773756156}"/>
              </a:ext>
            </a:extLst>
          </p:cNvPr>
          <p:cNvSpPr txBox="1">
            <a:spLocks/>
          </p:cNvSpPr>
          <p:nvPr/>
        </p:nvSpPr>
        <p:spPr>
          <a:xfrm>
            <a:off x="388393" y="931750"/>
            <a:ext cx="8504087" cy="5161546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sz="2200" b="1" dirty="0">
              <a:latin typeface="+mj-lt"/>
            </a:endParaRPr>
          </a:p>
          <a:p>
            <a:pPr marL="0" indent="0">
              <a:buNone/>
            </a:pPr>
            <a:r>
              <a:rPr lang="en-GB" sz="2800" b="1" dirty="0" err="1">
                <a:latin typeface="+mj-lt"/>
              </a:rPr>
              <a:t>Programi</a:t>
            </a:r>
            <a:r>
              <a:rPr lang="en-GB" sz="2800" b="1" dirty="0">
                <a:latin typeface="+mj-lt"/>
              </a:rPr>
              <a:t> za </a:t>
            </a:r>
            <a:r>
              <a:rPr lang="en-GB" sz="2800" b="1" dirty="0" err="1">
                <a:latin typeface="+mj-lt"/>
              </a:rPr>
              <a:t>proračun</a:t>
            </a:r>
            <a:r>
              <a:rPr lang="en-GB" sz="2800" b="1" dirty="0">
                <a:latin typeface="+mj-lt"/>
              </a:rPr>
              <a:t> </a:t>
            </a:r>
            <a:r>
              <a:rPr lang="en-GB" sz="2800" b="1" dirty="0" err="1">
                <a:latin typeface="+mj-lt"/>
              </a:rPr>
              <a:t>stabilnosti</a:t>
            </a:r>
            <a:r>
              <a:rPr lang="en-GB" sz="2800" b="1" dirty="0">
                <a:latin typeface="+mj-lt"/>
              </a:rPr>
              <a:t> </a:t>
            </a:r>
            <a:r>
              <a:rPr lang="en-GB" sz="2800" b="1" dirty="0" err="1" smtClean="0">
                <a:latin typeface="+mj-lt"/>
              </a:rPr>
              <a:t>kosina</a:t>
            </a:r>
            <a:endParaRPr lang="hr-HR" sz="2800" b="1" dirty="0" smtClean="0">
              <a:latin typeface="+mj-lt"/>
            </a:endParaRPr>
          </a:p>
          <a:p>
            <a:pPr marL="0" indent="0">
              <a:buNone/>
            </a:pPr>
            <a:endParaRPr lang="en-GB" sz="2800" b="1" dirty="0">
              <a:latin typeface="+mj-lt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sz="2400" b="1" dirty="0">
                <a:latin typeface="+mj-lt"/>
              </a:rPr>
              <a:t>BISHOP</a:t>
            </a: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ačun stabilnosti kosina pomoću elektroničkog računala</a:t>
            </a:r>
            <a:endParaRPr lang="en-GB" sz="2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. Nonveiller, S. Polić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Zagreb, 1968.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naliza koristi Bishop-ovu </a:t>
            </a:r>
            <a:r>
              <a:rPr lang="en-GB" sz="22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ojednostavljenu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22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etodu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22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kliznih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en-GB" sz="22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ilindričnih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)  </a:t>
            </a:r>
            <a:r>
              <a:rPr lang="en-GB" sz="22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loha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(Bishop, </a:t>
            </a:r>
            <a:r>
              <a:rPr lang="hr-HR" sz="2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1955.)</a:t>
            </a:r>
            <a:endParaRPr lang="en-GB" sz="2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en-GB" sz="2200" b="1" dirty="0">
              <a:latin typeface="+mj-lt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sz="2400" b="1" dirty="0">
                <a:latin typeface="+mj-lt"/>
              </a:rPr>
              <a:t>SSTAB 4</a:t>
            </a: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 za analizu stabilnosti kosina prema SPENCERU iz 1967 g.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hr-HR" sz="2400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GB" sz="2200" b="1" dirty="0">
              <a:latin typeface="+mj-lt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GB" sz="2200" b="1" dirty="0">
              <a:latin typeface="+mj-lt"/>
            </a:endParaRPr>
          </a:p>
          <a:p>
            <a:endParaRPr lang="hr-HR" sz="2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246147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zervirano mjesto datuma 3"/>
          <p:cNvSpPr>
            <a:spLocks noGrp="1"/>
          </p:cNvSpPr>
          <p:nvPr>
            <p:ph type="dt" sz="quarter" idx="10"/>
          </p:nvPr>
        </p:nvSpPr>
        <p:spPr>
          <a:xfrm>
            <a:off x="107950" y="6381750"/>
            <a:ext cx="1981200" cy="476250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sr-Latn-RS" dirty="0">
                <a:latin typeface="Arial Narrow" panose="020B0606020202030204" pitchFamily="34" charset="0"/>
              </a:rPr>
              <a:t>Branislav </a:t>
            </a:r>
            <a:r>
              <a:rPr lang="en-GB" altLang="sr-Latn-RS" dirty="0" err="1">
                <a:latin typeface="Arial Narrow" panose="020B0606020202030204" pitchFamily="34" charset="0"/>
              </a:rPr>
              <a:t>Škoro</a:t>
            </a:r>
            <a:endParaRPr lang="hr-HR" altLang="sr-Latn-RS" dirty="0">
              <a:latin typeface="Arial Narrow" panose="020B0606020202030204" pitchFamily="34" charset="0"/>
            </a:endParaRPr>
          </a:p>
        </p:txBody>
      </p:sp>
      <p:sp>
        <p:nvSpPr>
          <p:cNvPr id="7171" name="Rezervirano mjesto broja slajda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BBA287D-A8F6-44FD-9713-4B6C30CDF948}" type="slidenum">
              <a:rPr lang="hr-HR" altLang="sr-Latn-RS">
                <a:latin typeface="Verdana" panose="020B0604030504040204" pitchFamily="34" charset="0"/>
              </a:rPr>
              <a:pPr/>
              <a:t>11</a:t>
            </a:fld>
            <a:endParaRPr lang="hr-HR" altLang="sr-Latn-RS">
              <a:latin typeface="Verdana" panose="020B0604030504040204" pitchFamily="34" charset="0"/>
            </a:endParaRPr>
          </a:p>
        </p:txBody>
      </p:sp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altLang="sr-Latn-RS" dirty="0" err="1"/>
              <a:t>Koje</a:t>
            </a:r>
            <a:r>
              <a:rPr lang="en-GB" altLang="sr-Latn-RS" dirty="0"/>
              <a:t> </a:t>
            </a:r>
            <a:r>
              <a:rPr lang="en-GB" altLang="sr-Latn-RS" dirty="0" err="1"/>
              <a:t>smo</a:t>
            </a:r>
            <a:r>
              <a:rPr lang="en-GB" altLang="sr-Latn-RS" dirty="0"/>
              <a:t> </a:t>
            </a:r>
            <a:r>
              <a:rPr lang="en-GB" altLang="sr-Latn-RS" dirty="0" err="1"/>
              <a:t>programe</a:t>
            </a:r>
            <a:r>
              <a:rPr lang="en-GB" altLang="sr-Latn-RS" dirty="0"/>
              <a:t> </a:t>
            </a:r>
            <a:r>
              <a:rPr lang="en-GB" altLang="sr-Latn-RS" dirty="0" err="1"/>
              <a:t>koristili</a:t>
            </a:r>
            <a:endParaRPr lang="hr-HR" altLang="sr-Latn-RS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1C22D0B-A812-4FCC-9C96-04381A4944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7933331"/>
              </p:ext>
            </p:extLst>
          </p:nvPr>
        </p:nvGraphicFramePr>
        <p:xfrm>
          <a:off x="457200" y="1196752"/>
          <a:ext cx="7859216" cy="5004023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7643192">
                  <a:extLst>
                    <a:ext uri="{9D8B030D-6E8A-4147-A177-3AD203B41FA5}">
                      <a16:colId xmlns:a16="http://schemas.microsoft.com/office/drawing/2014/main" val="2042364141"/>
                    </a:ext>
                  </a:extLst>
                </a:gridCol>
                <a:gridCol w="216024">
                  <a:extLst>
                    <a:ext uri="{9D8B030D-6E8A-4147-A177-3AD203B41FA5}">
                      <a16:colId xmlns:a16="http://schemas.microsoft.com/office/drawing/2014/main" val="4110435797"/>
                    </a:ext>
                  </a:extLst>
                </a:gridCol>
              </a:tblGrid>
              <a:tr h="50040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gram za </a:t>
                      </a:r>
                      <a:r>
                        <a:rPr kumimoji="0" lang="en-GB" sz="2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račun</a:t>
                      </a:r>
                      <a:r>
                        <a:rPr kumimoji="0" lang="en-GB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GB" sz="2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acionarnog</a:t>
                      </a:r>
                      <a:r>
                        <a:rPr kumimoji="0" lang="en-GB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GB" sz="2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ka</a:t>
                      </a:r>
                      <a:r>
                        <a:rPr kumimoji="0" lang="en-GB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GB" sz="2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ode</a:t>
                      </a:r>
                      <a:r>
                        <a:rPr kumimoji="0" lang="en-GB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u </a:t>
                      </a:r>
                      <a:r>
                        <a:rPr kumimoji="0" lang="en-GB" sz="2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lu</a:t>
                      </a:r>
                      <a:endParaRPr kumimoji="0" lang="en-GB" sz="2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2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kumimoji="0" lang="en-GB" sz="2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EDAR</a:t>
                      </a:r>
                      <a:endParaRPr kumimoji="0" lang="hr-HR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endParaRPr kumimoji="0" lang="en-GB" sz="2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gram za rješavanje </a:t>
                      </a:r>
                      <a:r>
                        <a:rPr kumimoji="0" lang="hr-HR" sz="2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vo-dimenzionalnog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kumimoji="0" lang="hr-HR" sz="2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r-HR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acionarnog 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ka fluida kroz porozni medij </a:t>
                      </a:r>
                      <a:endParaRPr kumimoji="0" lang="en-GB" sz="22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hr-HR" sz="2200" b="1" i="0" u="sng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2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kumimoji="0" lang="hr-HR" sz="22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ite </a:t>
                      </a:r>
                      <a:r>
                        <a:rPr kumimoji="0" lang="hr-HR" sz="22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ment analysis of </a:t>
                      </a:r>
                      <a:r>
                        <a:rPr kumimoji="0" lang="hr-HR" sz="22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R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y </a:t>
                      </a:r>
                      <a:r>
                        <a:rPr kumimoji="0" lang="hr-HR" sz="2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low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kumimoji="0" lang="hr-HR" sz="2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r-HR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blems</a:t>
                      </a:r>
                      <a:r>
                        <a:rPr kumimoji="0" lang="en-GB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.C. TYLOR and C.B. BROWN</a:t>
                      </a:r>
                      <a:r>
                        <a:rPr kumimoji="0" lang="en-GB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iversity </a:t>
                      </a:r>
                      <a:r>
                        <a:rPr kumimoji="0" lang="hr-HR" sz="2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f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kumimoji="0" lang="hr-HR" sz="2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r-HR" sz="2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lifornia</a:t>
                      </a:r>
                      <a:r>
                        <a:rPr kumimoji="0" lang="hr-HR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– Berkeley, California</a:t>
                      </a:r>
                      <a:r>
                        <a:rPr kumimoji="0" lang="en-GB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kumimoji="0" lang="hr-HR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67 g.</a:t>
                      </a:r>
                      <a:r>
                        <a:rPr kumimoji="0" lang="en-GB" sz="2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3714352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4BE82F99-9136-4C4E-97DD-31BF3EBF8C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6136" y="1729318"/>
            <a:ext cx="3075856" cy="4652432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4008" y="19545"/>
            <a:ext cx="8642488" cy="1002691"/>
          </a:xfrm>
        </p:spPr>
        <p:txBody>
          <a:bodyPr/>
          <a:lstStyle/>
          <a:p>
            <a:r>
              <a:rPr lang="en-GB" dirty="0" err="1"/>
              <a:t>Sudjelovanje</a:t>
            </a:r>
            <a:r>
              <a:rPr lang="en-GB" dirty="0"/>
              <a:t> </a:t>
            </a:r>
            <a:r>
              <a:rPr lang="en-GB" dirty="0" err="1"/>
              <a:t>na</a:t>
            </a:r>
            <a:r>
              <a:rPr lang="en-GB" dirty="0"/>
              <a:t> </a:t>
            </a:r>
            <a:r>
              <a:rPr lang="en-GB" dirty="0" err="1"/>
              <a:t>stručnim</a:t>
            </a:r>
            <a:r>
              <a:rPr lang="en-GB" dirty="0"/>
              <a:t> </a:t>
            </a:r>
            <a:r>
              <a:rPr lang="en-GB" dirty="0" err="1"/>
              <a:t>skupovima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BBD83163-3067-4F7A-B13B-FC12598B1C8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8008912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sz="180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E709DE24-3391-4D07-881A-9AB38F172E4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4192488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b="1" dirty="0"/>
          </a:p>
          <a:p>
            <a:endParaRPr lang="en-GB" sz="1800" b="1" dirty="0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900DC54-D0C3-449F-9894-0CF773756156}"/>
              </a:ext>
            </a:extLst>
          </p:cNvPr>
          <p:cNvSpPr txBox="1">
            <a:spLocks/>
          </p:cNvSpPr>
          <p:nvPr/>
        </p:nvSpPr>
        <p:spPr>
          <a:xfrm>
            <a:off x="355773" y="1119278"/>
            <a:ext cx="8504087" cy="5262472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OSTUPAK NUMERIČKOG ODREĐIVANJA PARAMETARA TLA UZ KORIŠTENJE „IN SITU“ MJERENIH PODATAKA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.Muhovec, B. Škoro, D. Kovačić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aribor, 17.-20.10.1979.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2. Jugoslavenski simpozij o metodi konačnih elemenata i projektiranju pomoću elektroničkih računala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IBLIŽNA METODA PRORAČUNA TEMELJNIH PLOČA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. Kovačić, B. Škoro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hrid, 15.10.1981.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XV savjetovanje JDMTF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ZBOR GEOMEHANIČKIH PARAMETARA POMOĆU METODA MATEMATIČKE STATISTIKE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K. Horvat, B. Škoro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hrid, 15.10.1981.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n</a:t>
            </a: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XV savjetovanje JDMTF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OIL MECHANICS PACKAGE FOR APPLE II PLUS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. Kovačić, B. Škoro, V. Gašparac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Zagreb, 1984.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ELINEARNI ODNOS BOČNOG OPTEREĆENJA I DEFORMACIJA KOD PILOTA</a:t>
            </a: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B. Marić, K. Horvat, B. Škoro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Zagreb, 1986</a:t>
            </a:r>
            <a:r>
              <a:rPr lang="en-GB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en-GB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 sz="1600" b="1" dirty="0">
              <a:latin typeface="+mj-lt"/>
            </a:endParaRPr>
          </a:p>
          <a:p>
            <a:endParaRPr lang="hr-HR" sz="2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755671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8393" y="353216"/>
            <a:ext cx="8648103" cy="1275584"/>
          </a:xfrm>
        </p:spPr>
        <p:txBody>
          <a:bodyPr/>
          <a:lstStyle/>
          <a:p>
            <a:r>
              <a:rPr lang="en-GB" dirty="0" err="1"/>
              <a:t>Prvi</a:t>
            </a:r>
            <a:r>
              <a:rPr lang="en-GB" dirty="0"/>
              <a:t> </a:t>
            </a:r>
            <a:r>
              <a:rPr lang="en-GB" dirty="0" err="1"/>
              <a:t>susret</a:t>
            </a:r>
            <a:r>
              <a:rPr lang="en-GB" dirty="0"/>
              <a:t> s </a:t>
            </a:r>
            <a:r>
              <a:rPr lang="en-GB" dirty="0" err="1"/>
              <a:t>Davorinom</a:t>
            </a:r>
            <a:r>
              <a:rPr lang="en-GB" dirty="0"/>
              <a:t> </a:t>
            </a:r>
            <a:r>
              <a:rPr lang="en-GB" dirty="0" err="1"/>
              <a:t>Kovačićem</a:t>
            </a:r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2D2C12A-C84E-4CA4-B909-82570B4C87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9866" y="2132856"/>
            <a:ext cx="5369516" cy="357294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D364710-A9C5-4D14-9AAA-6EF933B4F6CD}"/>
              </a:ext>
            </a:extLst>
          </p:cNvPr>
          <p:cNvSpPr txBox="1"/>
          <p:nvPr/>
        </p:nvSpPr>
        <p:spPr>
          <a:xfrm>
            <a:off x="1043608" y="2300945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/>
              <a:t>1978. </a:t>
            </a:r>
            <a:r>
              <a:rPr lang="en-GB" sz="2800" dirty="0" err="1"/>
              <a:t>godina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424090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8393" y="353216"/>
            <a:ext cx="7856015" cy="1275584"/>
          </a:xfrm>
        </p:spPr>
        <p:txBody>
          <a:bodyPr/>
          <a:lstStyle/>
          <a:p>
            <a:r>
              <a:rPr lang="en-GB" dirty="0"/>
              <a:t>OOUR GEOEXPERT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3C5993A-C735-4BA5-8290-71B0B72AFD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147540"/>
              </p:ext>
            </p:extLst>
          </p:nvPr>
        </p:nvGraphicFramePr>
        <p:xfrm>
          <a:off x="827583" y="2564904"/>
          <a:ext cx="7740673" cy="25603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133064">
                  <a:extLst>
                    <a:ext uri="{9D8B030D-6E8A-4147-A177-3AD203B41FA5}">
                      <a16:colId xmlns:a16="http://schemas.microsoft.com/office/drawing/2014/main" val="3213929818"/>
                    </a:ext>
                  </a:extLst>
                </a:gridCol>
                <a:gridCol w="5607609">
                  <a:extLst>
                    <a:ext uri="{9D8B030D-6E8A-4147-A177-3AD203B41FA5}">
                      <a16:colId xmlns:a16="http://schemas.microsoft.com/office/drawing/2014/main" val="34321361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2200" b="0" dirty="0"/>
                        <a:t>8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200" b="0" dirty="0"/>
                        <a:t>ZAJEDNIČKE SLUŽB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24959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dirty="0"/>
                        <a:t>8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200" dirty="0"/>
                        <a:t>SEKTOR ZA GEEOMEHANIK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30635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b="1" dirty="0">
                          <a:solidFill>
                            <a:srgbClr val="FF0000"/>
                          </a:solidFill>
                        </a:rPr>
                        <a:t>8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200" b="1" dirty="0">
                          <a:solidFill>
                            <a:srgbClr val="FF0000"/>
                          </a:solidFill>
                        </a:rPr>
                        <a:t>SEKTOR ZA TEMELJENJ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1330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dirty="0"/>
                        <a:t>8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200" dirty="0"/>
                        <a:t>SEKTOR ZA NASUTE GRAĐEV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47101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dirty="0"/>
                        <a:t>8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200" dirty="0"/>
                        <a:t>KEMIJSKO TEHNOLOŠKI SEK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16839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dirty="0"/>
                        <a:t>8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200" dirty="0"/>
                        <a:t>SEKTOR ZA GEOFIZIK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82028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79883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8393" y="353216"/>
            <a:ext cx="7856015" cy="1275584"/>
          </a:xfrm>
        </p:spPr>
        <p:txBody>
          <a:bodyPr/>
          <a:lstStyle/>
          <a:p>
            <a:r>
              <a:rPr lang="en-GB" dirty="0"/>
              <a:t>OOUR GEOEXPERT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CECFF350-8C7D-4190-8EFE-5CF2CBA6CF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85795631"/>
              </p:ext>
            </p:extLst>
          </p:nvPr>
        </p:nvGraphicFramePr>
        <p:xfrm>
          <a:off x="539552" y="1083770"/>
          <a:ext cx="7920880" cy="51640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8297DB4-959D-46D6-B0F2-BFED1CE755C8}"/>
              </a:ext>
            </a:extLst>
          </p:cNvPr>
          <p:cNvSpPr/>
          <p:nvPr/>
        </p:nvSpPr>
        <p:spPr>
          <a:xfrm>
            <a:off x="2915816" y="2412418"/>
            <a:ext cx="3600400" cy="13340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GB" b="1" dirty="0" err="1">
                <a:solidFill>
                  <a:schemeClr val="tx1"/>
                </a:solidFill>
              </a:rPr>
              <a:t>dr.</a:t>
            </a:r>
            <a:r>
              <a:rPr lang="en-GB" b="1" dirty="0">
                <a:solidFill>
                  <a:schemeClr val="tx1"/>
                </a:solidFill>
              </a:rPr>
              <a:t> </a:t>
            </a:r>
            <a:r>
              <a:rPr lang="en-GB" b="1" dirty="0" err="1">
                <a:solidFill>
                  <a:schemeClr val="tx1"/>
                </a:solidFill>
              </a:rPr>
              <a:t>Davorin</a:t>
            </a:r>
            <a:r>
              <a:rPr lang="en-GB" b="1" dirty="0">
                <a:solidFill>
                  <a:schemeClr val="tx1"/>
                </a:solidFill>
              </a:rPr>
              <a:t> </a:t>
            </a:r>
            <a:r>
              <a:rPr lang="en-GB" b="1" dirty="0" err="1">
                <a:solidFill>
                  <a:schemeClr val="tx1"/>
                </a:solidFill>
              </a:rPr>
              <a:t>Kovačić</a:t>
            </a:r>
            <a:r>
              <a:rPr lang="en-GB" b="1" dirty="0">
                <a:solidFill>
                  <a:schemeClr val="tx1"/>
                </a:solidFill>
              </a:rPr>
              <a:t>, </a:t>
            </a:r>
            <a:r>
              <a:rPr lang="en-GB" b="1" dirty="0" err="1">
                <a:solidFill>
                  <a:schemeClr val="tx1"/>
                </a:solidFill>
              </a:rPr>
              <a:t>dipl.ing.građ</a:t>
            </a:r>
            <a:r>
              <a:rPr lang="en-GB" b="1" dirty="0">
                <a:solidFill>
                  <a:schemeClr val="tx1"/>
                </a:solidFill>
              </a:rPr>
              <a:t>.</a:t>
            </a:r>
          </a:p>
          <a:p>
            <a:pPr lvl="0" algn="ctr"/>
            <a:r>
              <a:rPr lang="en-GB" b="1" dirty="0" err="1">
                <a:solidFill>
                  <a:schemeClr val="tx1"/>
                </a:solidFill>
              </a:rPr>
              <a:t>Dražen</a:t>
            </a:r>
            <a:r>
              <a:rPr lang="en-GB" b="1" dirty="0">
                <a:solidFill>
                  <a:schemeClr val="tx1"/>
                </a:solidFill>
              </a:rPr>
              <a:t> </a:t>
            </a:r>
            <a:r>
              <a:rPr lang="en-GB" b="1" dirty="0" err="1">
                <a:solidFill>
                  <a:schemeClr val="tx1"/>
                </a:solidFill>
              </a:rPr>
              <a:t>Smaić</a:t>
            </a:r>
            <a:endParaRPr lang="en-GB" b="1" dirty="0">
              <a:solidFill>
                <a:schemeClr val="tx1"/>
              </a:solidFill>
            </a:endParaRPr>
          </a:p>
          <a:p>
            <a:pPr lvl="0" algn="ctr"/>
            <a:r>
              <a:rPr lang="en-GB" b="1" dirty="0">
                <a:solidFill>
                  <a:schemeClr val="tx1"/>
                </a:solidFill>
              </a:rPr>
              <a:t>Branislav </a:t>
            </a:r>
            <a:r>
              <a:rPr lang="en-GB" b="1" dirty="0" err="1">
                <a:solidFill>
                  <a:schemeClr val="tx1"/>
                </a:solidFill>
              </a:rPr>
              <a:t>Škoro</a:t>
            </a:r>
            <a:r>
              <a:rPr lang="en-GB" b="1" dirty="0">
                <a:solidFill>
                  <a:schemeClr val="tx1"/>
                </a:solidFill>
              </a:rPr>
              <a:t>, </a:t>
            </a:r>
            <a:r>
              <a:rPr lang="en-GB" b="1" dirty="0" err="1">
                <a:solidFill>
                  <a:schemeClr val="tx1"/>
                </a:solidFill>
              </a:rPr>
              <a:t>dipl.ing.građ</a:t>
            </a:r>
            <a:r>
              <a:rPr lang="en-GB" b="1" dirty="0">
                <a:solidFill>
                  <a:schemeClr val="tx1"/>
                </a:solidFill>
              </a:rPr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0578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30787" y="132222"/>
            <a:ext cx="7856015" cy="1275584"/>
          </a:xfrm>
        </p:spPr>
        <p:txBody>
          <a:bodyPr/>
          <a:lstStyle/>
          <a:p>
            <a:r>
              <a:rPr lang="en-GB" dirty="0" err="1"/>
              <a:t>Kako</a:t>
            </a:r>
            <a:r>
              <a:rPr lang="en-GB" dirty="0"/>
              <a:t> </a:t>
            </a:r>
            <a:r>
              <a:rPr lang="en-GB" dirty="0" err="1"/>
              <a:t>smo</a:t>
            </a:r>
            <a:r>
              <a:rPr lang="en-GB" dirty="0"/>
              <a:t> </a:t>
            </a:r>
            <a:r>
              <a:rPr lang="en-GB" dirty="0" err="1"/>
              <a:t>radili</a:t>
            </a:r>
            <a:r>
              <a:rPr lang="en-GB" dirty="0"/>
              <a:t>?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C1BE29D2-5648-4C99-BB44-5AFDC8CFE796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7864896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400" dirty="0"/>
          </a:p>
          <a:p>
            <a:pPr marL="0" indent="0">
              <a:buNone/>
            </a:pPr>
            <a:endParaRPr lang="en-GB" sz="2400" dirty="0"/>
          </a:p>
        </p:txBody>
      </p:sp>
      <p:pic>
        <p:nvPicPr>
          <p:cNvPr id="23554" name="Picture 2" descr="http://www.ithistory.org/sites/default/files/hardware/Univac1106Computer.jpg">
            <a:extLst>
              <a:ext uri="{FF2B5EF4-FFF2-40B4-BE49-F238E27FC236}">
                <a16:creationId xmlns:a16="http://schemas.microsoft.com/office/drawing/2014/main" id="{A51E68D2-54D1-47DC-8F2C-A533C863CF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764" y="832376"/>
            <a:ext cx="2232248" cy="1674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167FE019-8803-4FD5-A18D-E9AC3EB573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1611900"/>
              </p:ext>
            </p:extLst>
          </p:nvPr>
        </p:nvGraphicFramePr>
        <p:xfrm>
          <a:off x="595536" y="1010088"/>
          <a:ext cx="4255762" cy="5180566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255762">
                  <a:extLst>
                    <a:ext uri="{9D8B030D-6E8A-4147-A177-3AD203B41FA5}">
                      <a16:colId xmlns:a16="http://schemas.microsoft.com/office/drawing/2014/main" val="3711423988"/>
                    </a:ext>
                  </a:extLst>
                </a:gridCol>
              </a:tblGrid>
              <a:tr h="1396007">
                <a:tc>
                  <a:txBody>
                    <a:bodyPr/>
                    <a:lstStyle/>
                    <a:p>
                      <a:r>
                        <a:rPr lang="hr-HR" sz="2400" b="1" dirty="0"/>
                        <a:t>UNIVAC 1106 </a:t>
                      </a:r>
                      <a:r>
                        <a:rPr lang="hr-HR" sz="2400" b="0" dirty="0"/>
                        <a:t>u SCRC-u  </a:t>
                      </a:r>
                      <a:endParaRPr lang="hr-HR" sz="2400" b="0" dirty="0" smtClean="0"/>
                    </a:p>
                    <a:p>
                      <a:r>
                        <a:rPr lang="hr-HR" sz="2400" b="0" dirty="0" smtClean="0"/>
                        <a:t>(</a:t>
                      </a:r>
                      <a:r>
                        <a:rPr lang="hr-HR" sz="2400" b="0" dirty="0"/>
                        <a:t>unos podataka preko bušenih kartica) </a:t>
                      </a:r>
                      <a:endParaRPr lang="en-GB" sz="2400" b="0" dirty="0"/>
                    </a:p>
                    <a:p>
                      <a:endParaRPr lang="en-GB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1340515"/>
                  </a:ext>
                </a:extLst>
              </a:tr>
              <a:tr h="1519811">
                <a:tc>
                  <a:txBody>
                    <a:bodyPr/>
                    <a:lstStyle/>
                    <a:p>
                      <a:r>
                        <a:rPr lang="hr-HR" sz="2400" b="1" dirty="0"/>
                        <a:t>PDP 11  </a:t>
                      </a:r>
                      <a:r>
                        <a:rPr lang="hr-HR" sz="2400" dirty="0"/>
                        <a:t>u Hrvatskim vodama </a:t>
                      </a:r>
                      <a:endParaRPr lang="en-GB" sz="2400" dirty="0"/>
                    </a:p>
                    <a:p>
                      <a:r>
                        <a:rPr lang="hr-HR" sz="2400" dirty="0"/>
                        <a:t>(terminalski pristup)</a:t>
                      </a:r>
                      <a:endParaRPr lang="en-GB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0562064"/>
                  </a:ext>
                </a:extLst>
              </a:tr>
              <a:tr h="2106275">
                <a:tc>
                  <a:txBody>
                    <a:bodyPr/>
                    <a:lstStyle/>
                    <a:p>
                      <a:endParaRPr lang="hr-HR" sz="2400" dirty="0" smtClean="0"/>
                    </a:p>
                    <a:p>
                      <a:r>
                        <a:rPr lang="hr-HR" sz="2400" b="1" dirty="0" smtClean="0"/>
                        <a:t>VAX </a:t>
                      </a:r>
                      <a:r>
                        <a:rPr lang="hr-HR" sz="2400" b="1" dirty="0"/>
                        <a:t>11/780 </a:t>
                      </a:r>
                      <a:endParaRPr lang="en-GB" sz="2400" b="1" dirty="0"/>
                    </a:p>
                    <a:p>
                      <a:r>
                        <a:rPr lang="hr-HR" sz="2400" dirty="0"/>
                        <a:t>u Geotehnici </a:t>
                      </a:r>
                      <a:endParaRPr lang="en-GB" sz="2400" dirty="0"/>
                    </a:p>
                    <a:p>
                      <a:r>
                        <a:rPr lang="hr-HR" sz="2400" dirty="0"/>
                        <a:t>(terminalski pristup) </a:t>
                      </a:r>
                      <a:endParaRPr lang="en-GB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920329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ABF0BEF4-B768-4C2D-9ED1-A71F4193F6BC}"/>
              </a:ext>
            </a:extLst>
          </p:cNvPr>
          <p:cNvSpPr txBox="1"/>
          <p:nvPr/>
        </p:nvSpPr>
        <p:spPr>
          <a:xfrm>
            <a:off x="7325946" y="1937121"/>
            <a:ext cx="144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err="1"/>
              <a:t>Izvor</a:t>
            </a:r>
            <a:r>
              <a:rPr lang="en-GB" sz="800" dirty="0"/>
              <a:t>:</a:t>
            </a:r>
            <a:r>
              <a:rPr lang="en-GB" sz="800" dirty="0">
                <a:hlinkClick r:id="rId3"/>
              </a:rPr>
              <a:t> http://www.ithistory.org/db/hardware/sperry-rand/univac-1106</a:t>
            </a:r>
            <a:r>
              <a:rPr lang="en-GB" sz="800" dirty="0"/>
              <a:t> </a:t>
            </a:r>
          </a:p>
        </p:txBody>
      </p:sp>
      <p:pic>
        <p:nvPicPr>
          <p:cNvPr id="23556" name="Picture 4" descr="Slikovni rezultat za PDP 11">
            <a:extLst>
              <a:ext uri="{FF2B5EF4-FFF2-40B4-BE49-F238E27FC236}">
                <a16:creationId xmlns:a16="http://schemas.microsoft.com/office/drawing/2014/main" id="{BE7B0053-06AB-45E1-9236-59BCAD9AD1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764" y="2585930"/>
            <a:ext cx="1899952" cy="1752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411C60F-D4BC-411D-A05F-94020DFBE384}"/>
              </a:ext>
            </a:extLst>
          </p:cNvPr>
          <p:cNvSpPr txBox="1"/>
          <p:nvPr/>
        </p:nvSpPr>
        <p:spPr>
          <a:xfrm>
            <a:off x="7325946" y="3167191"/>
            <a:ext cx="14401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err="1"/>
              <a:t>Izvor</a:t>
            </a:r>
            <a:r>
              <a:rPr lang="en-GB" sz="800" dirty="0"/>
              <a:t>:</a:t>
            </a:r>
            <a:r>
              <a:rPr lang="en-GB" sz="800" dirty="0">
                <a:hlinkClick r:id="rId3"/>
              </a:rPr>
              <a:t> </a:t>
            </a:r>
            <a:r>
              <a:rPr lang="en-GB" sz="800" dirty="0">
                <a:hlinkClick r:id="rId5"/>
              </a:rPr>
              <a:t>https://www.google.com/search?q=PDP+11&amp;source=lnms&amp;tbm=isch&amp;sa=X&amp;ved=0ahUKEwjmvJSNoqfiAhUoiIsKHVceCzQQ_AUIDigB&amp;biw=2560&amp;bih=1297#imgrc=ZzZHfyn5qnCiwM:</a:t>
            </a:r>
            <a:endParaRPr lang="en-GB" sz="8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A20A1D7-D8AD-4CD7-B2F8-548B4CAB30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36409" y="4338609"/>
            <a:ext cx="3877947" cy="201168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C45E350-A834-4952-9EF6-C3560579CE90}"/>
              </a:ext>
            </a:extLst>
          </p:cNvPr>
          <p:cNvSpPr txBox="1"/>
          <p:nvPr/>
        </p:nvSpPr>
        <p:spPr>
          <a:xfrm>
            <a:off x="7334854" y="4662326"/>
            <a:ext cx="14401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err="1"/>
              <a:t>Izvor</a:t>
            </a:r>
            <a:r>
              <a:rPr lang="en-GB" sz="800" dirty="0"/>
              <a:t>:</a:t>
            </a:r>
            <a:r>
              <a:rPr lang="en-GB" sz="800" dirty="0">
                <a:hlinkClick r:id="rId3"/>
              </a:rPr>
              <a:t> </a:t>
            </a:r>
            <a:r>
              <a:rPr lang="en-GB" sz="800" dirty="0">
                <a:hlinkClick r:id="rId7"/>
              </a:rPr>
              <a:t>https://www.google.com/search?q=VAX+11/780&amp;source=lnms&amp;tbm=isch&amp;sa=X&amp;ved=0ahUKEwiwh6TOoqfiAhXBtYsKHTZYDZwQ_AUIDigB&amp;biw=2560&amp;bih=1297#imgrc=0RNIMraaKHIGyM: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40010154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8393" y="353216"/>
            <a:ext cx="7856015" cy="1275584"/>
          </a:xfrm>
        </p:spPr>
        <p:txBody>
          <a:bodyPr/>
          <a:lstStyle/>
          <a:p>
            <a:r>
              <a:rPr lang="en-GB" dirty="0" err="1"/>
              <a:t>Osobna</a:t>
            </a:r>
            <a:r>
              <a:rPr lang="en-GB" dirty="0"/>
              <a:t> </a:t>
            </a:r>
            <a:r>
              <a:rPr lang="en-GB" dirty="0" err="1"/>
              <a:t>računala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BBD83163-3067-4F7A-B13B-FC12598B1C8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8008912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sz="180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E709DE24-3391-4D07-881A-9AB38F172E4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4192488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b="1" dirty="0"/>
          </a:p>
          <a:p>
            <a:endParaRPr lang="en-GB" sz="1800" b="1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A061A80-CF10-430D-9BDF-A9B241DC48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8123184"/>
              </p:ext>
            </p:extLst>
          </p:nvPr>
        </p:nvGraphicFramePr>
        <p:xfrm>
          <a:off x="769470" y="1628800"/>
          <a:ext cx="2520280" cy="4470347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520280">
                  <a:extLst>
                    <a:ext uri="{9D8B030D-6E8A-4147-A177-3AD203B41FA5}">
                      <a16:colId xmlns:a16="http://schemas.microsoft.com/office/drawing/2014/main" val="2283151291"/>
                    </a:ext>
                  </a:extLst>
                </a:gridCol>
              </a:tblGrid>
              <a:tr h="21602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800" b="1" dirty="0" smtClean="0"/>
                        <a:t>APPLE </a:t>
                      </a:r>
                      <a:r>
                        <a:rPr lang="en-GB" sz="2800" b="1" dirty="0"/>
                        <a:t>II  plu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800" b="1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800" b="1" dirty="0"/>
                    </a:p>
                    <a:p>
                      <a:endParaRPr lang="en-GB" sz="2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4657815"/>
                  </a:ext>
                </a:extLst>
              </a:tr>
              <a:tr h="23101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800" b="1" dirty="0"/>
                        <a:t>IBM-PC/X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800" b="1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2800" b="1" dirty="0"/>
                    </a:p>
                    <a:p>
                      <a:endParaRPr lang="en-GB" sz="2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5602767"/>
                  </a:ext>
                </a:extLst>
              </a:tr>
            </a:tbl>
          </a:graphicData>
        </a:graphic>
      </p:graphicFrame>
      <p:pic>
        <p:nvPicPr>
          <p:cNvPr id="24578" name="Picture 2" descr="Apple II computer low-poly concept apple design retro low-poly 3dsmax animation 3d art behance design computer game game art game animation computer apple game">
            <a:extLst>
              <a:ext uri="{FF2B5EF4-FFF2-40B4-BE49-F238E27FC236}">
                <a16:creationId xmlns:a16="http://schemas.microsoft.com/office/drawing/2014/main" id="{60322216-D382-4C5B-A270-15F9FEE211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52" y="1658536"/>
            <a:ext cx="2513856" cy="1885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BCCDD68-F2F5-41E6-AF29-8FBF805766DC}"/>
              </a:ext>
            </a:extLst>
          </p:cNvPr>
          <p:cNvSpPr txBox="1"/>
          <p:nvPr/>
        </p:nvSpPr>
        <p:spPr>
          <a:xfrm>
            <a:off x="7325946" y="1937121"/>
            <a:ext cx="14401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err="1"/>
              <a:t>Izvor</a:t>
            </a:r>
            <a:r>
              <a:rPr lang="en-GB" sz="800" dirty="0"/>
              <a:t>:</a:t>
            </a:r>
            <a:r>
              <a:rPr lang="en-GB" sz="800" dirty="0">
                <a:hlinkClick r:id="rId3"/>
              </a:rPr>
              <a:t> </a:t>
            </a:r>
            <a:r>
              <a:rPr lang="en-GB" sz="800" dirty="0">
                <a:hlinkClick r:id="rId4"/>
              </a:rPr>
              <a:t>https://dribbble.com/shots/5655185-Apple-II-computer-low-poly</a:t>
            </a:r>
            <a:endParaRPr lang="en-GB" sz="800" dirty="0"/>
          </a:p>
        </p:txBody>
      </p:sp>
      <p:pic>
        <p:nvPicPr>
          <p:cNvPr id="24580" name="Picture 4" descr="Slikovni rezultat za IBM-PC/XT">
            <a:extLst>
              <a:ext uri="{FF2B5EF4-FFF2-40B4-BE49-F238E27FC236}">
                <a16:creationId xmlns:a16="http://schemas.microsoft.com/office/drawing/2014/main" id="{1776960C-FA5F-4838-AEB3-848EDBCF74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9292" y="3670026"/>
            <a:ext cx="1837546" cy="2450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BA03B50-B461-4E8F-AB45-36A9CF01AAC1}"/>
              </a:ext>
            </a:extLst>
          </p:cNvPr>
          <p:cNvSpPr txBox="1"/>
          <p:nvPr/>
        </p:nvSpPr>
        <p:spPr>
          <a:xfrm>
            <a:off x="7269088" y="3861048"/>
            <a:ext cx="14401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err="1"/>
              <a:t>Izvor</a:t>
            </a:r>
            <a:r>
              <a:rPr lang="en-GB" sz="800" dirty="0"/>
              <a:t>:</a:t>
            </a:r>
            <a:r>
              <a:rPr lang="en-GB" sz="800" dirty="0">
                <a:hlinkClick r:id="rId3"/>
              </a:rPr>
              <a:t> </a:t>
            </a:r>
            <a:r>
              <a:rPr lang="en-GB" sz="800" dirty="0">
                <a:hlinkClick r:id="rId6"/>
              </a:rPr>
              <a:t>https://www.google.com/search?q=IBM-PC/XT&amp;source=lnms&amp;tbm=isch&amp;sa=X&amp;ved=0ahUKEwjts9yPpqfiAhVBpYsKHbJTDewQ_AUIDigB&amp;biw=2560&amp;bih=1297#imgrc=RpGOD83K3gzaWM: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5305711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8393" y="157383"/>
            <a:ext cx="7856015" cy="1275584"/>
          </a:xfrm>
        </p:spPr>
        <p:txBody>
          <a:bodyPr/>
          <a:lstStyle/>
          <a:p>
            <a:r>
              <a:rPr lang="en-GB" dirty="0" err="1"/>
              <a:t>Koje</a:t>
            </a:r>
            <a:r>
              <a:rPr lang="en-GB" dirty="0"/>
              <a:t> </a:t>
            </a:r>
            <a:r>
              <a:rPr lang="en-GB" dirty="0" err="1"/>
              <a:t>smo</a:t>
            </a:r>
            <a:r>
              <a:rPr lang="en-GB" dirty="0"/>
              <a:t> </a:t>
            </a:r>
            <a:r>
              <a:rPr lang="en-GB" dirty="0" err="1" smtClean="0"/>
              <a:t>programe</a:t>
            </a:r>
            <a:r>
              <a:rPr lang="en-GB" dirty="0" smtClean="0"/>
              <a:t> </a:t>
            </a:r>
            <a:r>
              <a:rPr lang="en-GB" dirty="0" err="1"/>
              <a:t>koristili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BBD83163-3067-4F7A-B13B-FC12598B1C8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8008912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sz="180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E709DE24-3391-4D07-881A-9AB38F172E4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4192488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b="1" dirty="0"/>
          </a:p>
          <a:p>
            <a:endParaRPr lang="en-GB" sz="1800" b="1" dirty="0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900DC54-D0C3-449F-9894-0CF773756156}"/>
              </a:ext>
            </a:extLst>
          </p:cNvPr>
          <p:cNvSpPr txBox="1">
            <a:spLocks/>
          </p:cNvSpPr>
          <p:nvPr/>
        </p:nvSpPr>
        <p:spPr>
          <a:xfrm>
            <a:off x="388393" y="1147352"/>
            <a:ext cx="8108104" cy="5377992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sz="18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6ADF011-52B8-49C7-8A62-5638C9E845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6895" y="1627070"/>
            <a:ext cx="3119827" cy="4418556"/>
          </a:xfrm>
          <a:prstGeom prst="rect">
            <a:avLst/>
          </a:prstGeom>
        </p:spPr>
      </p:pic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47D59AAD-4CD6-4D39-82E0-89B69F0768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2162953"/>
              </p:ext>
            </p:extLst>
          </p:nvPr>
        </p:nvGraphicFramePr>
        <p:xfrm>
          <a:off x="388393" y="1037502"/>
          <a:ext cx="8056772" cy="519776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5021674">
                  <a:extLst>
                    <a:ext uri="{9D8B030D-6E8A-4147-A177-3AD203B41FA5}">
                      <a16:colId xmlns:a16="http://schemas.microsoft.com/office/drawing/2014/main" val="1532253470"/>
                    </a:ext>
                  </a:extLst>
                </a:gridCol>
                <a:gridCol w="3035098">
                  <a:extLst>
                    <a:ext uri="{9D8B030D-6E8A-4147-A177-3AD203B41FA5}">
                      <a16:colId xmlns:a16="http://schemas.microsoft.com/office/drawing/2014/main" val="2766498019"/>
                    </a:ext>
                  </a:extLst>
                </a:gridCol>
              </a:tblGrid>
              <a:tr h="519776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B" sz="2200" b="1" dirty="0" err="1"/>
                        <a:t>Programi</a:t>
                      </a:r>
                      <a:r>
                        <a:rPr lang="en-GB" sz="2200" b="1" dirty="0"/>
                        <a:t> za </a:t>
                      </a:r>
                      <a:r>
                        <a:rPr lang="en-GB" sz="2200" b="1" dirty="0" err="1"/>
                        <a:t>proračun</a:t>
                      </a:r>
                      <a:r>
                        <a:rPr lang="en-GB" sz="2200" b="1" dirty="0"/>
                        <a:t> </a:t>
                      </a:r>
                      <a:r>
                        <a:rPr lang="en-GB" sz="2200" b="1" dirty="0" err="1" smtClean="0"/>
                        <a:t>konstrukcija</a:t>
                      </a:r>
                      <a:endParaRPr lang="hr-HR" sz="2200" b="1" dirty="0" smtClean="0"/>
                    </a:p>
                    <a:p>
                      <a:pPr marL="0" indent="0">
                        <a:buNone/>
                      </a:pPr>
                      <a:endParaRPr lang="en-GB" sz="2200" b="1" dirty="0"/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en-GB" sz="2400" b="1" u="sng" dirty="0"/>
                        <a:t>SAP IV, SAP V </a:t>
                      </a: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hr-HR" sz="1800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</a:t>
                      </a:r>
                      <a:r>
                        <a:rPr lang="hr-HR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ructural analysis program for static and dynamic response of </a:t>
                      </a:r>
                      <a:r>
                        <a:rPr lang="hr-HR" sz="180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near</a:t>
                      </a:r>
                      <a:r>
                        <a:rPr lang="hr-HR" sz="18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hr-HR" sz="1800" dirty="0" err="1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ystems</a:t>
                      </a:r>
                      <a:endParaRPr lang="hr-HR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en-GB" sz="1400" dirty="0" err="1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tori</a:t>
                      </a:r>
                      <a:r>
                        <a:rPr lang="en-GB" sz="1400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:</a:t>
                      </a:r>
                      <a:r>
                        <a:rPr lang="hr-HR" sz="1400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Klaus-</a:t>
                      </a:r>
                      <a:r>
                        <a:rPr lang="hr-HR" sz="1400" dirty="0" err="1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urgen</a:t>
                      </a:r>
                      <a:r>
                        <a:rPr lang="hr-HR" sz="1400" dirty="0" smtClean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hr-HR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athe</a:t>
                      </a:r>
                      <a:r>
                        <a:rPr lang="en-GB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hr-HR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dward L. Wilson</a:t>
                      </a:r>
                      <a:r>
                        <a:rPr lang="en-GB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hr-HR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red E. Peterson</a:t>
                      </a:r>
                      <a:endParaRPr lang="en-GB" sz="1400" dirty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lvl="1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hr-HR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llege of engineering</a:t>
                      </a:r>
                      <a:r>
                        <a:rPr lang="en-GB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 </a:t>
                      </a:r>
                      <a:r>
                        <a:rPr lang="hr-HR" sz="14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iversity of California – Berkeley, California</a:t>
                      </a:r>
                      <a:endParaRPr lang="en-GB" sz="1400" dirty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None/>
                      </a:pPr>
                      <a:endParaRPr lang="en-GB" sz="1800" dirty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hr-HR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čeo razvijati oko 1970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hr-HR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godine </a:t>
                      </a:r>
                      <a:endParaRPr lang="en-GB" sz="1800" b="0" dirty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ve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rzije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vake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odine</a:t>
                      </a:r>
                      <a:endParaRPr lang="en-GB" sz="1800" b="0" dirty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a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azvoj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je </a:t>
                      </a:r>
                      <a:r>
                        <a:rPr lang="hr-HR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trebno znanje tri znanstvene discipline: structural mechanics, numerical analysis and computer aplications</a:t>
                      </a:r>
                      <a:endParaRPr lang="en-GB" sz="1800" b="0" dirty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ilj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: 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ka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difikacija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širenje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i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žuriranje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gućnost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alize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800" b="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likih</a:t>
                      </a:r>
                      <a:r>
                        <a:rPr lang="en-GB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hr-HR" sz="1800" b="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odimenzionalnih sistema</a:t>
                      </a:r>
                      <a:endParaRPr lang="en-GB" sz="1800" b="0" dirty="0"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690870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940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8393" y="157383"/>
            <a:ext cx="7856015" cy="1275584"/>
          </a:xfrm>
        </p:spPr>
        <p:txBody>
          <a:bodyPr/>
          <a:lstStyle/>
          <a:p>
            <a:r>
              <a:rPr lang="en-GB" dirty="0" err="1"/>
              <a:t>Koje</a:t>
            </a:r>
            <a:r>
              <a:rPr lang="en-GB" dirty="0"/>
              <a:t> </a:t>
            </a:r>
            <a:r>
              <a:rPr lang="en-GB" dirty="0" err="1"/>
              <a:t>smo</a:t>
            </a:r>
            <a:r>
              <a:rPr lang="en-GB" dirty="0"/>
              <a:t> </a:t>
            </a:r>
            <a:r>
              <a:rPr lang="en-GB" dirty="0" err="1" smtClean="0"/>
              <a:t>programe</a:t>
            </a:r>
            <a:r>
              <a:rPr lang="en-GB" dirty="0" smtClean="0"/>
              <a:t> </a:t>
            </a:r>
            <a:r>
              <a:rPr lang="en-GB" dirty="0" err="1"/>
              <a:t>koristili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BBD83163-3067-4F7A-B13B-FC12598B1C8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8008912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sz="180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E709DE24-3391-4D07-881A-9AB38F172E4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4192488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b="1" dirty="0"/>
          </a:p>
          <a:p>
            <a:endParaRPr lang="en-GB" sz="1800" b="1" dirty="0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900DC54-D0C3-449F-9894-0CF773756156}"/>
              </a:ext>
            </a:extLst>
          </p:cNvPr>
          <p:cNvSpPr txBox="1">
            <a:spLocks/>
          </p:cNvSpPr>
          <p:nvPr/>
        </p:nvSpPr>
        <p:spPr>
          <a:xfrm>
            <a:off x="388393" y="1147352"/>
            <a:ext cx="8108104" cy="5377992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sz="1800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804CC32-962B-4726-882D-B6678D6057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4032607"/>
              </p:ext>
            </p:extLst>
          </p:nvPr>
        </p:nvGraphicFramePr>
        <p:xfrm>
          <a:off x="388393" y="1407890"/>
          <a:ext cx="8136458" cy="4444754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5263727">
                  <a:extLst>
                    <a:ext uri="{9D8B030D-6E8A-4147-A177-3AD203B41FA5}">
                      <a16:colId xmlns:a16="http://schemas.microsoft.com/office/drawing/2014/main" val="820865195"/>
                    </a:ext>
                  </a:extLst>
                </a:gridCol>
                <a:gridCol w="2872731">
                  <a:extLst>
                    <a:ext uri="{9D8B030D-6E8A-4147-A177-3AD203B41FA5}">
                      <a16:colId xmlns:a16="http://schemas.microsoft.com/office/drawing/2014/main" val="1975599985"/>
                    </a:ext>
                  </a:extLst>
                </a:gridCol>
              </a:tblGrid>
              <a:tr h="4444754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B" sz="2800" b="1" dirty="0" err="1"/>
                        <a:t>Programi</a:t>
                      </a:r>
                      <a:r>
                        <a:rPr lang="en-GB" sz="2800" b="1" dirty="0"/>
                        <a:t> za </a:t>
                      </a:r>
                      <a:r>
                        <a:rPr lang="en-GB" sz="2800" b="1" dirty="0" err="1"/>
                        <a:t>proračun</a:t>
                      </a:r>
                      <a:r>
                        <a:rPr lang="en-GB" sz="2800" b="1" dirty="0"/>
                        <a:t> </a:t>
                      </a:r>
                      <a:r>
                        <a:rPr lang="en-GB" sz="2800" b="1" dirty="0" err="1"/>
                        <a:t>konstrukcija</a:t>
                      </a:r>
                      <a:endParaRPr lang="en-GB" sz="2800" b="1" dirty="0"/>
                    </a:p>
                    <a:p>
                      <a:pPr marL="0" indent="0">
                        <a:buNone/>
                      </a:pPr>
                      <a:endParaRPr lang="en-GB" sz="2200" b="1" dirty="0"/>
                    </a:p>
                    <a:p>
                      <a:pPr>
                        <a:buFont typeface="Wingdings" panose="05000000000000000000" pitchFamily="2" charset="2"/>
                        <a:buChar char="Ø"/>
                      </a:pPr>
                      <a:r>
                        <a:rPr lang="en-GB" sz="2400" b="1" dirty="0"/>
                        <a:t>WINKL (BMCOL 28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b="1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tori</a:t>
                      </a:r>
                      <a:r>
                        <a:rPr lang="en-GB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hr-HR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. Matlock, T.A. </a:t>
                      </a:r>
                      <a:r>
                        <a:rPr lang="hr-HR" sz="1600" b="1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aliburton</a:t>
                      </a:r>
                      <a:r>
                        <a:rPr lang="hr-HR" sz="16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hr-HR" sz="1600" b="1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hr-HR" sz="1600" b="1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iversity </a:t>
                      </a:r>
                      <a:r>
                        <a:rPr lang="hr-HR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f Texas</a:t>
                      </a:r>
                      <a:r>
                        <a:rPr lang="en-GB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 </a:t>
                      </a:r>
                      <a:r>
                        <a:rPr lang="hr-HR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64</a:t>
                      </a:r>
                      <a:r>
                        <a:rPr lang="en-GB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hr-HR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hr-HR" sz="1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gram za analizu elastične grede na Winklerovom prostoru</a:t>
                      </a:r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1382282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8984B2D-237F-41BD-AB18-B5DCD474B6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1343" y="1928136"/>
            <a:ext cx="3035007" cy="3816423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A0D5833A-A89B-4421-B2E5-CB3E76985891}"/>
              </a:ext>
            </a:extLst>
          </p:cNvPr>
          <p:cNvSpPr/>
          <p:nvPr/>
        </p:nvSpPr>
        <p:spPr>
          <a:xfrm>
            <a:off x="6472684" y="3332291"/>
            <a:ext cx="2304256" cy="50405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352E4DD-A8EB-4612-91FE-E68BE1B2AB86}"/>
              </a:ext>
            </a:extLst>
          </p:cNvPr>
          <p:cNvCxnSpPr/>
          <p:nvPr/>
        </p:nvCxnSpPr>
        <p:spPr>
          <a:xfrm flipH="1" flipV="1">
            <a:off x="7672056" y="3667336"/>
            <a:ext cx="1494136" cy="86409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89603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8393" y="353216"/>
            <a:ext cx="7856015" cy="1275584"/>
          </a:xfrm>
        </p:spPr>
        <p:txBody>
          <a:bodyPr/>
          <a:lstStyle/>
          <a:p>
            <a:r>
              <a:rPr lang="en-GB" dirty="0" err="1"/>
              <a:t>Koje</a:t>
            </a:r>
            <a:r>
              <a:rPr lang="en-GB" dirty="0"/>
              <a:t> </a:t>
            </a:r>
            <a:r>
              <a:rPr lang="en-GB" dirty="0" err="1"/>
              <a:t>smo</a:t>
            </a:r>
            <a:r>
              <a:rPr lang="en-GB" dirty="0"/>
              <a:t> </a:t>
            </a:r>
            <a:r>
              <a:rPr lang="en-GB" dirty="0" err="1"/>
              <a:t>programe</a:t>
            </a:r>
            <a:r>
              <a:rPr lang="en-GB" dirty="0"/>
              <a:t> </a:t>
            </a:r>
            <a:r>
              <a:rPr lang="en-GB" dirty="0" err="1"/>
              <a:t>koristili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23155" y="2534404"/>
            <a:ext cx="8569325" cy="2262748"/>
          </a:xfrm>
        </p:spPr>
        <p:txBody>
          <a:bodyPr/>
          <a:lstStyle/>
          <a:p>
            <a:endParaRPr lang="en-GB" dirty="0"/>
          </a:p>
          <a:p>
            <a:endParaRPr lang="hr-HR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FDDF445-5033-4A75-91DF-ADD04A96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7950" y="6381750"/>
            <a:ext cx="5976938" cy="476250"/>
          </a:xfrm>
        </p:spPr>
        <p:txBody>
          <a:bodyPr/>
          <a:lstStyle/>
          <a:p>
            <a:r>
              <a:rPr lang="en-US" dirty="0"/>
              <a:t>Branislav Škoro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BBD83163-3067-4F7A-B13B-FC12598B1C8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8008912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r-HR" sz="180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E709DE24-3391-4D07-881A-9AB38F172E4D}"/>
              </a:ext>
            </a:extLst>
          </p:cNvPr>
          <p:cNvSpPr txBox="1">
            <a:spLocks/>
          </p:cNvSpPr>
          <p:nvPr/>
        </p:nvSpPr>
        <p:spPr>
          <a:xfrm>
            <a:off x="379512" y="1556792"/>
            <a:ext cx="4192488" cy="4563295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b="1" dirty="0"/>
          </a:p>
          <a:p>
            <a:endParaRPr lang="en-GB" sz="1800" b="1" dirty="0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E900DC54-D0C3-449F-9894-0CF773756156}"/>
              </a:ext>
            </a:extLst>
          </p:cNvPr>
          <p:cNvSpPr txBox="1">
            <a:spLocks/>
          </p:cNvSpPr>
          <p:nvPr/>
        </p:nvSpPr>
        <p:spPr>
          <a:xfrm>
            <a:off x="388393" y="1272241"/>
            <a:ext cx="8504087" cy="4749047"/>
          </a:xfr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800" b="1" dirty="0" err="1" smtClean="0">
                <a:latin typeface="+mj-lt"/>
              </a:rPr>
              <a:t>Programi</a:t>
            </a:r>
            <a:r>
              <a:rPr lang="en-GB" sz="2800" b="1" dirty="0" smtClean="0">
                <a:latin typeface="+mj-lt"/>
              </a:rPr>
              <a:t> </a:t>
            </a:r>
            <a:r>
              <a:rPr lang="en-GB" sz="2800" b="1" dirty="0">
                <a:latin typeface="+mj-lt"/>
              </a:rPr>
              <a:t>za </a:t>
            </a:r>
            <a:r>
              <a:rPr lang="en-GB" sz="2800" b="1" dirty="0" err="1">
                <a:latin typeface="+mj-lt"/>
              </a:rPr>
              <a:t>proračun</a:t>
            </a:r>
            <a:r>
              <a:rPr lang="en-GB" sz="2800" b="1" dirty="0">
                <a:latin typeface="+mj-lt"/>
              </a:rPr>
              <a:t> </a:t>
            </a:r>
            <a:r>
              <a:rPr lang="en-GB" sz="2800" b="1" dirty="0" err="1" smtClean="0">
                <a:latin typeface="+mj-lt"/>
              </a:rPr>
              <a:t>slijeganja</a:t>
            </a:r>
            <a:endParaRPr lang="hr-HR" sz="2800" b="1" dirty="0" smtClean="0">
              <a:latin typeface="+mj-lt"/>
            </a:endParaRPr>
          </a:p>
          <a:p>
            <a:pPr marL="0" indent="0">
              <a:buNone/>
            </a:pPr>
            <a:endParaRPr lang="en-GB" sz="2800" b="1" dirty="0">
              <a:latin typeface="+mj-lt"/>
            </a:endParaRPr>
          </a:p>
          <a:p>
            <a:pPr>
              <a:lnSpc>
                <a:spcPct val="107000"/>
              </a:lnSpc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GB" sz="2400" b="1" dirty="0">
                <a:latin typeface="+mj-lt"/>
              </a:rPr>
              <a:t>SARMA</a:t>
            </a: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GB" sz="2200" b="1" dirty="0">
                <a:latin typeface="+mj-lt"/>
              </a:rPr>
              <a:t> </a:t>
            </a: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oračunavanje slijeganja tla pomoću elektroničkih računala</a:t>
            </a:r>
            <a:endParaRPr lang="en-GB" sz="2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. Nonveiller, S. Polić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Zagreb, 1969.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sz="2200" b="1" dirty="0">
              <a:latin typeface="+mj-lt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sz="2400" b="1" dirty="0" smtClean="0">
                <a:latin typeface="+mj-lt"/>
              </a:rPr>
              <a:t>JANBU</a:t>
            </a:r>
            <a:endParaRPr lang="en-GB" sz="2400" b="1" dirty="0">
              <a:latin typeface="+mj-lt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oračun slijeganja na osnovi edometarskih pokusa prema modelu JANBU-a,</a:t>
            </a:r>
            <a:endParaRPr lang="en-GB" sz="2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za horizontalno uslojeno tlo</a:t>
            </a:r>
            <a:endParaRPr lang="en-GB" sz="2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Aft>
                <a:spcPts val="0"/>
              </a:spcAft>
              <a:buNone/>
            </a:pP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. Grubić, B. Škoro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hr-HR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elsinki, 1983.</a:t>
            </a:r>
            <a:r>
              <a:rPr lang="en-GB" sz="2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endParaRPr lang="en-GB" sz="2200" b="1" dirty="0">
              <a:latin typeface="+mj-lt"/>
            </a:endParaRPr>
          </a:p>
          <a:p>
            <a:pPr marL="0" indent="0">
              <a:buNone/>
            </a:pPr>
            <a:endParaRPr lang="hr-HR" sz="2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105365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LANGUAGE" val="English US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B-TD_Overview on all slide layouts of the slidemaster_7.5.2015">
  <a:themeElements>
    <a:clrScheme name="Wienerberger CBME">
      <a:dk1>
        <a:sysClr val="windowText" lastClr="000000"/>
      </a:dk1>
      <a:lt1>
        <a:srgbClr val="FFFFFF"/>
      </a:lt1>
      <a:dk2>
        <a:srgbClr val="B30000"/>
      </a:dk2>
      <a:lt2>
        <a:srgbClr val="ECEDED"/>
      </a:lt2>
      <a:accent1>
        <a:srgbClr val="9C9E9F"/>
      </a:accent1>
      <a:accent2>
        <a:srgbClr val="D7D1C3"/>
      </a:accent2>
      <a:accent3>
        <a:srgbClr val="9F8F89"/>
      </a:accent3>
      <a:accent4>
        <a:srgbClr val="9AA8A1"/>
      </a:accent4>
      <a:accent5>
        <a:srgbClr val="C2D4D8"/>
      </a:accent5>
      <a:accent6>
        <a:srgbClr val="B30000"/>
      </a:accent6>
      <a:hlink>
        <a:srgbClr val="C3A578"/>
      </a:hlink>
      <a:folHlink>
        <a:srgbClr val="9F8F8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600" cap="none" baseline="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9" id="{97ADC3E3-0D67-4B8E-B2CB-44B365AE6C58}" vid="{EED0ADE4-BA78-4E04-9606-959559355AF5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B-TD_Overview on all slide layouts of the slidemaster_7.5.2015">
  <a:themeElements>
    <a:clrScheme name="Wienerberger CBME">
      <a:dk1>
        <a:sysClr val="windowText" lastClr="000000"/>
      </a:dk1>
      <a:lt1>
        <a:srgbClr val="FFFFFF"/>
      </a:lt1>
      <a:dk2>
        <a:srgbClr val="B30000"/>
      </a:dk2>
      <a:lt2>
        <a:srgbClr val="ECEDED"/>
      </a:lt2>
      <a:accent1>
        <a:srgbClr val="9C9E9F"/>
      </a:accent1>
      <a:accent2>
        <a:srgbClr val="D7D1C3"/>
      </a:accent2>
      <a:accent3>
        <a:srgbClr val="9F8F89"/>
      </a:accent3>
      <a:accent4>
        <a:srgbClr val="9AA8A1"/>
      </a:accent4>
      <a:accent5>
        <a:srgbClr val="C2D4D8"/>
      </a:accent5>
      <a:accent6>
        <a:srgbClr val="B30000"/>
      </a:accent6>
      <a:hlink>
        <a:srgbClr val="C3A578"/>
      </a:hlink>
      <a:folHlink>
        <a:srgbClr val="9F8F8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600" cap="none" baseline="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9" id="{97ADC3E3-0D67-4B8E-B2CB-44B365AE6C58}" vid="{EED0ADE4-BA78-4E04-9606-959559355AF5}"/>
    </a:ext>
  </a:extLst>
</a:theme>
</file>

<file path=ppt/theme/theme3.xml><?xml version="1.0" encoding="utf-8"?>
<a:theme xmlns:a="http://schemas.openxmlformats.org/drawingml/2006/main" name="2_WB-TD_Overview on all slide layouts of the slidemaster_7.5.2015">
  <a:themeElements>
    <a:clrScheme name="Wienerberger CBME">
      <a:dk1>
        <a:sysClr val="windowText" lastClr="000000"/>
      </a:dk1>
      <a:lt1>
        <a:srgbClr val="FFFFFF"/>
      </a:lt1>
      <a:dk2>
        <a:srgbClr val="B30000"/>
      </a:dk2>
      <a:lt2>
        <a:srgbClr val="ECEDED"/>
      </a:lt2>
      <a:accent1>
        <a:srgbClr val="9C9E9F"/>
      </a:accent1>
      <a:accent2>
        <a:srgbClr val="D7D1C3"/>
      </a:accent2>
      <a:accent3>
        <a:srgbClr val="9F8F89"/>
      </a:accent3>
      <a:accent4>
        <a:srgbClr val="9AA8A1"/>
      </a:accent4>
      <a:accent5>
        <a:srgbClr val="C2D4D8"/>
      </a:accent5>
      <a:accent6>
        <a:srgbClr val="B30000"/>
      </a:accent6>
      <a:hlink>
        <a:srgbClr val="C3A578"/>
      </a:hlink>
      <a:folHlink>
        <a:srgbClr val="9F8F8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600" cap="none" baseline="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9" id="{97ADC3E3-0D67-4B8E-B2CB-44B365AE6C58}" vid="{EED0ADE4-BA78-4E04-9606-959559355AF5}"/>
    </a:ext>
  </a:extLst>
</a:theme>
</file>

<file path=ppt/theme/theme4.xml><?xml version="1.0" encoding="utf-8"?>
<a:theme xmlns:a="http://schemas.openxmlformats.org/drawingml/2006/main" name="3_WB-TD_Overview on all slide layouts of the slidemaster_7.5.2015">
  <a:themeElements>
    <a:clrScheme name="Wienerberger CBME">
      <a:dk1>
        <a:sysClr val="windowText" lastClr="000000"/>
      </a:dk1>
      <a:lt1>
        <a:srgbClr val="FFFFFF"/>
      </a:lt1>
      <a:dk2>
        <a:srgbClr val="B30000"/>
      </a:dk2>
      <a:lt2>
        <a:srgbClr val="ECEDED"/>
      </a:lt2>
      <a:accent1>
        <a:srgbClr val="9C9E9F"/>
      </a:accent1>
      <a:accent2>
        <a:srgbClr val="D7D1C3"/>
      </a:accent2>
      <a:accent3>
        <a:srgbClr val="9F8F89"/>
      </a:accent3>
      <a:accent4>
        <a:srgbClr val="9AA8A1"/>
      </a:accent4>
      <a:accent5>
        <a:srgbClr val="C2D4D8"/>
      </a:accent5>
      <a:accent6>
        <a:srgbClr val="B30000"/>
      </a:accent6>
      <a:hlink>
        <a:srgbClr val="C3A578"/>
      </a:hlink>
      <a:folHlink>
        <a:srgbClr val="9F8F8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600" cap="none" baseline="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9" id="{97ADC3E3-0D67-4B8E-B2CB-44B365AE6C58}" vid="{EED0ADE4-BA78-4E04-9606-959559355AF5}"/>
    </a:ext>
  </a:extLst>
</a:theme>
</file>

<file path=ppt/theme/theme5.xml><?xml version="1.0" encoding="utf-8"?>
<a:theme xmlns:a="http://schemas.openxmlformats.org/drawingml/2006/main" name="4_WB-TD_Overview on all slide layouts of the slidemaster_7.5.2015">
  <a:themeElements>
    <a:clrScheme name="Wienerberger CBME">
      <a:dk1>
        <a:sysClr val="windowText" lastClr="000000"/>
      </a:dk1>
      <a:lt1>
        <a:srgbClr val="FFFFFF"/>
      </a:lt1>
      <a:dk2>
        <a:srgbClr val="B30000"/>
      </a:dk2>
      <a:lt2>
        <a:srgbClr val="ECEDED"/>
      </a:lt2>
      <a:accent1>
        <a:srgbClr val="9C9E9F"/>
      </a:accent1>
      <a:accent2>
        <a:srgbClr val="D7D1C3"/>
      </a:accent2>
      <a:accent3>
        <a:srgbClr val="9F8F89"/>
      </a:accent3>
      <a:accent4>
        <a:srgbClr val="9AA8A1"/>
      </a:accent4>
      <a:accent5>
        <a:srgbClr val="C2D4D8"/>
      </a:accent5>
      <a:accent6>
        <a:srgbClr val="B30000"/>
      </a:accent6>
      <a:hlink>
        <a:srgbClr val="C3A578"/>
      </a:hlink>
      <a:folHlink>
        <a:srgbClr val="9F8F8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600" cap="none" baseline="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9" id="{97ADC3E3-0D67-4B8E-B2CB-44B365AE6C58}" vid="{EED0ADE4-BA78-4E04-9606-959559355AF5}"/>
    </a:ext>
  </a:extLst>
</a:theme>
</file>

<file path=ppt/theme/theme6.xml><?xml version="1.0" encoding="utf-8"?>
<a:theme xmlns:a="http://schemas.openxmlformats.org/drawingml/2006/main" name="5_WB-TD_Overview on all slide layouts of the slidemaster_7.5.2015">
  <a:themeElements>
    <a:clrScheme name="Wienerberger CBME">
      <a:dk1>
        <a:sysClr val="windowText" lastClr="000000"/>
      </a:dk1>
      <a:lt1>
        <a:srgbClr val="FFFFFF"/>
      </a:lt1>
      <a:dk2>
        <a:srgbClr val="B30000"/>
      </a:dk2>
      <a:lt2>
        <a:srgbClr val="ECEDED"/>
      </a:lt2>
      <a:accent1>
        <a:srgbClr val="9C9E9F"/>
      </a:accent1>
      <a:accent2>
        <a:srgbClr val="D7D1C3"/>
      </a:accent2>
      <a:accent3>
        <a:srgbClr val="9F8F89"/>
      </a:accent3>
      <a:accent4>
        <a:srgbClr val="9AA8A1"/>
      </a:accent4>
      <a:accent5>
        <a:srgbClr val="C2D4D8"/>
      </a:accent5>
      <a:accent6>
        <a:srgbClr val="B30000"/>
      </a:accent6>
      <a:hlink>
        <a:srgbClr val="C3A578"/>
      </a:hlink>
      <a:folHlink>
        <a:srgbClr val="9F8F8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600" cap="none" baseline="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9" id="{97ADC3E3-0D67-4B8E-B2CB-44B365AE6C58}" vid="{EED0ADE4-BA78-4E04-9606-959559355AF5}"/>
    </a:ext>
  </a:extLst>
</a:theme>
</file>

<file path=ppt/theme/theme7.xml><?xml version="1.0" encoding="utf-8"?>
<a:theme xmlns:a="http://schemas.openxmlformats.org/drawingml/2006/main" name="6_WB-TD_Overview on all slide layouts of the slidemaster_7.5.2015">
  <a:themeElements>
    <a:clrScheme name="Wienerberger CBME">
      <a:dk1>
        <a:sysClr val="windowText" lastClr="000000"/>
      </a:dk1>
      <a:lt1>
        <a:srgbClr val="FFFFFF"/>
      </a:lt1>
      <a:dk2>
        <a:srgbClr val="B30000"/>
      </a:dk2>
      <a:lt2>
        <a:srgbClr val="ECEDED"/>
      </a:lt2>
      <a:accent1>
        <a:srgbClr val="9C9E9F"/>
      </a:accent1>
      <a:accent2>
        <a:srgbClr val="D7D1C3"/>
      </a:accent2>
      <a:accent3>
        <a:srgbClr val="9F8F89"/>
      </a:accent3>
      <a:accent4>
        <a:srgbClr val="9AA8A1"/>
      </a:accent4>
      <a:accent5>
        <a:srgbClr val="C2D4D8"/>
      </a:accent5>
      <a:accent6>
        <a:srgbClr val="B30000"/>
      </a:accent6>
      <a:hlink>
        <a:srgbClr val="C3A578"/>
      </a:hlink>
      <a:folHlink>
        <a:srgbClr val="9F8F8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600" cap="none" baseline="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9" id="{97ADC3E3-0D67-4B8E-B2CB-44B365AE6C58}" vid="{EED0ADE4-BA78-4E04-9606-959559355AF5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Application xmlns="http://www.sap.com/cof/powerpoint/application">
  <Version>2</Version>
  <Revision>2.4.2.67902</Revision>
</Application>
</file>

<file path=customXml/item2.xml><?xml version="1.0" encoding="utf-8"?>
<Application xmlns="http://www.sap.com/cof/ao/powerpoint/application">
  <com.sap.ip.bi.pioneer>
    <Version>4</Version>
    <AAO_Revision>2.4.2.67902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Props1.xml><?xml version="1.0" encoding="utf-8"?>
<ds:datastoreItem xmlns:ds="http://schemas.openxmlformats.org/officeDocument/2006/customXml" ds:itemID="{3189E4FB-B15C-439B-9A46-7A55B6464CB4}">
  <ds:schemaRefs>
    <ds:schemaRef ds:uri="http://www.sap.com/cof/powerpoint/application"/>
  </ds:schemaRefs>
</ds:datastoreItem>
</file>

<file path=customXml/itemProps2.xml><?xml version="1.0" encoding="utf-8"?>
<ds:datastoreItem xmlns:ds="http://schemas.openxmlformats.org/officeDocument/2006/customXml" ds:itemID="{7D8FF875-FA70-46F9-BB40-46D5EE0DBFC5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B-TD_Overview on all slide layouts of the slidemaster_7.5.2015</Template>
  <TotalTime>27031</TotalTime>
  <Words>622</Words>
  <Application>Microsoft Office PowerPoint</Application>
  <PresentationFormat>Prikaz na zaslonu (4:3)</PresentationFormat>
  <Paragraphs>234</Paragraphs>
  <Slides>12</Slides>
  <Notes>5</Notes>
  <HiddenSlides>0</HiddenSlides>
  <MMClips>0</MMClips>
  <ScaleCrop>false</ScaleCrop>
  <HeadingPairs>
    <vt:vector size="8" baseType="variant">
      <vt:variant>
        <vt:lpstr>Korišteni fontovi</vt:lpstr>
      </vt:variant>
      <vt:variant>
        <vt:i4>6</vt:i4>
      </vt:variant>
      <vt:variant>
        <vt:lpstr>Tema</vt:lpstr>
      </vt:variant>
      <vt:variant>
        <vt:i4>8</vt:i4>
      </vt:variant>
      <vt:variant>
        <vt:lpstr>Uloženi OLE poslužitelji</vt:lpstr>
      </vt:variant>
      <vt:variant>
        <vt:i4>1</vt:i4>
      </vt:variant>
      <vt:variant>
        <vt:lpstr>Naslovi slajdova</vt:lpstr>
      </vt:variant>
      <vt:variant>
        <vt:i4>12</vt:i4>
      </vt:variant>
    </vt:vector>
  </HeadingPairs>
  <TitlesOfParts>
    <vt:vector size="27" baseType="lpstr">
      <vt:lpstr>Arial</vt:lpstr>
      <vt:lpstr>Arial Narrow</vt:lpstr>
      <vt:lpstr>Calibri</vt:lpstr>
      <vt:lpstr>Times New Roman</vt:lpstr>
      <vt:lpstr>Verdana</vt:lpstr>
      <vt:lpstr>Wingdings</vt:lpstr>
      <vt:lpstr>WB-TD_Overview on all slide layouts of the slidemaster_7.5.2015</vt:lpstr>
      <vt:lpstr>1_WB-TD_Overview on all slide layouts of the slidemaster_7.5.2015</vt:lpstr>
      <vt:lpstr>2_WB-TD_Overview on all slide layouts of the slidemaster_7.5.2015</vt:lpstr>
      <vt:lpstr>3_WB-TD_Overview on all slide layouts of the slidemaster_7.5.2015</vt:lpstr>
      <vt:lpstr>4_WB-TD_Overview on all slide layouts of the slidemaster_7.5.2015</vt:lpstr>
      <vt:lpstr>5_WB-TD_Overview on all slide layouts of the slidemaster_7.5.2015</vt:lpstr>
      <vt:lpstr>6_WB-TD_Overview on all slide layouts of the slidemaster_7.5.2015</vt:lpstr>
      <vt:lpstr>Office Theme</vt:lpstr>
      <vt:lpstr>think-cell Folie</vt:lpstr>
      <vt:lpstr>Suradnja na numeričkom modeliranju geotehničkih konstrukcija </vt:lpstr>
      <vt:lpstr>Prvi susret s Davorinom Kovačićem</vt:lpstr>
      <vt:lpstr>OOUR GEOEXPERT</vt:lpstr>
      <vt:lpstr>OOUR GEOEXPERT</vt:lpstr>
      <vt:lpstr>Kako smo radili?</vt:lpstr>
      <vt:lpstr>Osobna računala</vt:lpstr>
      <vt:lpstr>Koje smo programe koristili</vt:lpstr>
      <vt:lpstr>Koje smo programe koristili</vt:lpstr>
      <vt:lpstr>Koje smo programe koristili</vt:lpstr>
      <vt:lpstr>Koje smo programe koristili</vt:lpstr>
      <vt:lpstr>Koje smo programe koristili</vt:lpstr>
      <vt:lpstr>Sudjelovanje na stručnim skupovim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 on all slide layouts of the slidemaster</dc:title>
  <dc:creator>Alen Nonkovič</dc:creator>
  <cp:lastModifiedBy>Nada Marđetko-Škoro</cp:lastModifiedBy>
  <cp:revision>171</cp:revision>
  <dcterms:created xsi:type="dcterms:W3CDTF">2015-05-07T15:56:39Z</dcterms:created>
  <dcterms:modified xsi:type="dcterms:W3CDTF">2019-05-20T06:29:02Z</dcterms:modified>
</cp:coreProperties>
</file>